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  <p:sldMasterId id="2147483780" r:id="rId2"/>
    <p:sldMasterId id="2147483804" r:id="rId3"/>
    <p:sldMasterId id="2147483888" r:id="rId4"/>
    <p:sldMasterId id="2147483902" r:id="rId5"/>
    <p:sldMasterId id="2147483917" r:id="rId6"/>
    <p:sldMasterId id="2147483932" r:id="rId7"/>
    <p:sldMasterId id="2147483947" r:id="rId8"/>
  </p:sldMasterIdLst>
  <p:notesMasterIdLst>
    <p:notesMasterId r:id="rId40"/>
  </p:notesMasterIdLst>
  <p:handoutMasterIdLst>
    <p:handoutMasterId r:id="rId41"/>
  </p:handoutMasterIdLst>
  <p:sldIdLst>
    <p:sldId id="313" r:id="rId9"/>
    <p:sldId id="326" r:id="rId10"/>
    <p:sldId id="327" r:id="rId11"/>
    <p:sldId id="328" r:id="rId12"/>
    <p:sldId id="329" r:id="rId13"/>
    <p:sldId id="330" r:id="rId14"/>
    <p:sldId id="342" r:id="rId15"/>
    <p:sldId id="343" r:id="rId16"/>
    <p:sldId id="344" r:id="rId17"/>
    <p:sldId id="340" r:id="rId18"/>
    <p:sldId id="280" r:id="rId19"/>
    <p:sldId id="277" r:id="rId20"/>
    <p:sldId id="289" r:id="rId21"/>
    <p:sldId id="339" r:id="rId22"/>
    <p:sldId id="325" r:id="rId23"/>
    <p:sldId id="291" r:id="rId24"/>
    <p:sldId id="338" r:id="rId25"/>
    <p:sldId id="345" r:id="rId26"/>
    <p:sldId id="346" r:id="rId27"/>
    <p:sldId id="347" r:id="rId28"/>
    <p:sldId id="348" r:id="rId29"/>
    <p:sldId id="286" r:id="rId30"/>
    <p:sldId id="283" r:id="rId31"/>
    <p:sldId id="352" r:id="rId32"/>
    <p:sldId id="355" r:id="rId33"/>
    <p:sldId id="357" r:id="rId34"/>
    <p:sldId id="359" r:id="rId35"/>
    <p:sldId id="360" r:id="rId36"/>
    <p:sldId id="285" r:id="rId37"/>
    <p:sldId id="318" r:id="rId38"/>
    <p:sldId id="275" r:id="rId39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06D2D69-54B2-463F-880D-D04307022F47}">
          <p14:sldIdLst>
            <p14:sldId id="313"/>
            <p14:sldId id="326"/>
            <p14:sldId id="327"/>
            <p14:sldId id="328"/>
            <p14:sldId id="329"/>
            <p14:sldId id="330"/>
            <p14:sldId id="342"/>
            <p14:sldId id="343"/>
            <p14:sldId id="344"/>
            <p14:sldId id="340"/>
            <p14:sldId id="280"/>
            <p14:sldId id="277"/>
            <p14:sldId id="289"/>
            <p14:sldId id="339"/>
          </p14:sldIdLst>
        </p14:section>
        <p14:section name="Раздел без заголовка" id="{84298A3B-8FF0-492A-A890-55A6C2667CA9}">
          <p14:sldIdLst>
            <p14:sldId id="325"/>
            <p14:sldId id="291"/>
            <p14:sldId id="338"/>
            <p14:sldId id="345"/>
            <p14:sldId id="346"/>
            <p14:sldId id="347"/>
            <p14:sldId id="348"/>
            <p14:sldId id="286"/>
            <p14:sldId id="283"/>
            <p14:sldId id="352"/>
            <p14:sldId id="355"/>
            <p14:sldId id="357"/>
            <p14:sldId id="359"/>
            <p14:sldId id="360"/>
            <p14:sldId id="285"/>
            <p14:sldId id="318"/>
            <p14:sldId id="2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34567" autoAdjust="0"/>
    <p:restoredTop sz="95108" autoAdjust="0"/>
  </p:normalViewPr>
  <p:slideViewPr>
    <p:cSldViewPr>
      <p:cViewPr varScale="1">
        <p:scale>
          <a:sx n="83" d="100"/>
          <a:sy n="83" d="100"/>
        </p:scale>
        <p:origin x="893" y="7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30"/>
    </p:cViewPr>
  </p:sorterViewPr>
  <p:notesViewPr>
    <p:cSldViewPr>
      <p:cViewPr varScale="1">
        <p:scale>
          <a:sx n="70" d="100"/>
          <a:sy n="70" d="100"/>
        </p:scale>
        <p:origin x="-3294" y="-90"/>
      </p:cViewPr>
      <p:guideLst>
        <p:guide orient="horz" pos="3133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20" Type="http://schemas.openxmlformats.org/officeDocument/2006/relationships/slide" Target="slides/slide12.xml"/><Relationship Id="rId41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CBB493-0DAB-47D1-A8AB-492FC57594A4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83FE8A9-35FF-40B1-8796-B79FE46225F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99492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255EC3-DF04-4DE9-A875-1DECC7814953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5"/>
            <a:ext cx="2971800" cy="4973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891BA4-1C65-4C1D-AD11-BE19DF6231E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11495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891BA4-1C65-4C1D-AD11-BE19DF6231E9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6034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891BA4-1C65-4C1D-AD11-BE19DF6231E9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4985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891BA4-1C65-4C1D-AD11-BE19DF6231E9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2590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AD1D2A8E-379D-45D3-8061-992F2599A45C}" type="slidenum">
              <a:rPr lang="ru-RU" sz="1200" smtClean="0">
                <a:solidFill>
                  <a:prstClr val="black"/>
                </a:solidFill>
              </a:rPr>
              <a:pPr eaLnBrk="1" hangingPunct="1">
                <a:defRPr/>
              </a:pPr>
              <a:t>13</a:t>
            </a:fld>
            <a:endParaRPr lang="ru-RU" sz="1200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2292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defRPr/>
            </a:pPr>
            <a:fld id="{F3159143-50E4-470D-84D2-BFF197D3E315}" type="slidenum">
              <a:rPr lang="ru-RU" sz="1200" smtClean="0">
                <a:solidFill>
                  <a:prstClr val="black"/>
                </a:solidFill>
              </a:rPr>
              <a:pPr eaLnBrk="1" hangingPunct="1">
                <a:defRPr/>
              </a:pPr>
              <a:t>16</a:t>
            </a:fld>
            <a:endParaRPr lang="ru-RU" sz="1200"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D891BA4-1C65-4C1D-AD11-BE19DF6231E9}" type="slidenum">
              <a:rPr lang="ru-RU" smtClean="0"/>
              <a:pPr/>
              <a:t>3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194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9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1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0" y="0"/>
            <a:ext cx="1557338" cy="6878638"/>
            <a:chOff x="0" y="-6"/>
            <a:chExt cx="981" cy="4333"/>
          </a:xfrm>
        </p:grpSpPr>
        <p:sp>
          <p:nvSpPr>
            <p:cNvPr id="5" name="Rectangle 6"/>
            <p:cNvSpPr>
              <a:spLocks noChangeArrowheads="1"/>
            </p:cNvSpPr>
            <p:nvPr/>
          </p:nvSpPr>
          <p:spPr bwMode="auto">
            <a:xfrm>
              <a:off x="453" y="2151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6" name="Rectangle 7"/>
            <p:cNvSpPr>
              <a:spLocks noChangeArrowheads="1"/>
            </p:cNvSpPr>
            <p:nvPr/>
          </p:nvSpPr>
          <p:spPr bwMode="auto">
            <a:xfrm>
              <a:off x="0" y="2151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222" y="2151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8" name="Rectangle 9"/>
            <p:cNvSpPr>
              <a:spLocks noChangeArrowheads="1"/>
            </p:cNvSpPr>
            <p:nvPr/>
          </p:nvSpPr>
          <p:spPr bwMode="auto">
            <a:xfrm>
              <a:off x="567" y="2160"/>
              <a:ext cx="204" cy="2161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222" y="2636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222" y="2908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1" name="Freeform 12"/>
            <p:cNvSpPr>
              <a:spLocks/>
            </p:cNvSpPr>
            <p:nvPr/>
          </p:nvSpPr>
          <p:spPr bwMode="auto">
            <a:xfrm>
              <a:off x="222" y="3165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222" y="3420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3" name="Freeform 14"/>
            <p:cNvSpPr>
              <a:spLocks/>
            </p:cNvSpPr>
            <p:nvPr/>
          </p:nvSpPr>
          <p:spPr bwMode="auto">
            <a:xfrm>
              <a:off x="222" y="367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301" y="3932"/>
              <a:ext cx="265" cy="392"/>
            </a:xfrm>
            <a:custGeom>
              <a:avLst/>
              <a:gdLst/>
              <a:ahLst/>
              <a:cxnLst>
                <a:cxn ang="0">
                  <a:pos x="264" y="52"/>
                </a:cxn>
                <a:cxn ang="0">
                  <a:pos x="264" y="194"/>
                </a:cxn>
                <a:cxn ang="0">
                  <a:pos x="256" y="188"/>
                </a:cxn>
                <a:cxn ang="0">
                  <a:pos x="236" y="188"/>
                </a:cxn>
                <a:cxn ang="0">
                  <a:pos x="221" y="194"/>
                </a:cxn>
                <a:cxn ang="0">
                  <a:pos x="205" y="209"/>
                </a:cxn>
                <a:cxn ang="0">
                  <a:pos x="162" y="261"/>
                </a:cxn>
                <a:cxn ang="0">
                  <a:pos x="66" y="366"/>
                </a:cxn>
                <a:cxn ang="0">
                  <a:pos x="45" y="391"/>
                </a:cxn>
                <a:cxn ang="0">
                  <a:pos x="0" y="391"/>
                </a:cxn>
                <a:cxn ang="0">
                  <a:pos x="178" y="190"/>
                </a:cxn>
                <a:cxn ang="0">
                  <a:pos x="218" y="138"/>
                </a:cxn>
                <a:cxn ang="0">
                  <a:pos x="233" y="111"/>
                </a:cxn>
                <a:cxn ang="0">
                  <a:pos x="246" y="84"/>
                </a:cxn>
                <a:cxn ang="0">
                  <a:pos x="256" y="39"/>
                </a:cxn>
                <a:cxn ang="0">
                  <a:pos x="264" y="0"/>
                </a:cxn>
                <a:cxn ang="0">
                  <a:pos x="264" y="117"/>
                </a:cxn>
              </a:cxnLst>
              <a:rect l="0" t="0" r="r" b="b"/>
              <a:pathLst>
                <a:path w="265" h="392">
                  <a:moveTo>
                    <a:pt x="264" y="52"/>
                  </a:moveTo>
                  <a:lnTo>
                    <a:pt x="264" y="194"/>
                  </a:lnTo>
                  <a:lnTo>
                    <a:pt x="256" y="188"/>
                  </a:lnTo>
                  <a:lnTo>
                    <a:pt x="236" y="188"/>
                  </a:lnTo>
                  <a:lnTo>
                    <a:pt x="221" y="194"/>
                  </a:lnTo>
                  <a:lnTo>
                    <a:pt x="205" y="209"/>
                  </a:lnTo>
                  <a:lnTo>
                    <a:pt x="162" y="261"/>
                  </a:lnTo>
                  <a:lnTo>
                    <a:pt x="66" y="366"/>
                  </a:lnTo>
                  <a:lnTo>
                    <a:pt x="45" y="391"/>
                  </a:lnTo>
                  <a:lnTo>
                    <a:pt x="0" y="391"/>
                  </a:lnTo>
                  <a:lnTo>
                    <a:pt x="178" y="190"/>
                  </a:lnTo>
                  <a:lnTo>
                    <a:pt x="218" y="138"/>
                  </a:lnTo>
                  <a:lnTo>
                    <a:pt x="233" y="111"/>
                  </a:lnTo>
                  <a:lnTo>
                    <a:pt x="246" y="84"/>
                  </a:lnTo>
                  <a:lnTo>
                    <a:pt x="256" y="39"/>
                  </a:lnTo>
                  <a:lnTo>
                    <a:pt x="264" y="0"/>
                  </a:lnTo>
                  <a:lnTo>
                    <a:pt x="264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222" y="2366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222" y="2151"/>
              <a:ext cx="346" cy="575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3"/>
                </a:cxn>
                <a:cxn ang="0">
                  <a:pos x="30" y="433"/>
                </a:cxn>
                <a:cxn ang="0">
                  <a:pos x="17" y="463"/>
                </a:cxn>
                <a:cxn ang="0">
                  <a:pos x="10" y="510"/>
                </a:cxn>
                <a:cxn ang="0">
                  <a:pos x="0" y="574"/>
                </a:cxn>
                <a:cxn ang="0">
                  <a:pos x="0" y="293"/>
                </a:cxn>
                <a:cxn ang="0">
                  <a:pos x="5" y="320"/>
                </a:cxn>
                <a:cxn ang="0">
                  <a:pos x="10" y="332"/>
                </a:cxn>
                <a:cxn ang="0">
                  <a:pos x="20" y="338"/>
                </a:cxn>
                <a:cxn ang="0">
                  <a:pos x="30" y="341"/>
                </a:cxn>
                <a:cxn ang="0">
                  <a:pos x="45" y="341"/>
                </a:cxn>
                <a:cxn ang="0">
                  <a:pos x="60" y="335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5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3"/>
                  </a:lnTo>
                  <a:lnTo>
                    <a:pt x="30" y="433"/>
                  </a:lnTo>
                  <a:lnTo>
                    <a:pt x="17" y="463"/>
                  </a:lnTo>
                  <a:lnTo>
                    <a:pt x="10" y="510"/>
                  </a:lnTo>
                  <a:lnTo>
                    <a:pt x="0" y="574"/>
                  </a:lnTo>
                  <a:lnTo>
                    <a:pt x="0" y="293"/>
                  </a:lnTo>
                  <a:lnTo>
                    <a:pt x="5" y="320"/>
                  </a:lnTo>
                  <a:lnTo>
                    <a:pt x="10" y="332"/>
                  </a:lnTo>
                  <a:lnTo>
                    <a:pt x="20" y="338"/>
                  </a:lnTo>
                  <a:lnTo>
                    <a:pt x="30" y="341"/>
                  </a:lnTo>
                  <a:lnTo>
                    <a:pt x="45" y="341"/>
                  </a:lnTo>
                  <a:lnTo>
                    <a:pt x="60" y="335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7" name="Rectangle 18"/>
            <p:cNvSpPr>
              <a:spLocks noChangeArrowheads="1"/>
            </p:cNvSpPr>
            <p:nvPr/>
          </p:nvSpPr>
          <p:spPr bwMode="auto">
            <a:xfrm>
              <a:off x="453" y="-3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8" name="Rectangle 19"/>
            <p:cNvSpPr>
              <a:spLocks noChangeArrowheads="1"/>
            </p:cNvSpPr>
            <p:nvPr/>
          </p:nvSpPr>
          <p:spPr bwMode="auto">
            <a:xfrm>
              <a:off x="0" y="-3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9" name="Rectangle 20"/>
            <p:cNvSpPr>
              <a:spLocks noChangeArrowheads="1"/>
            </p:cNvSpPr>
            <p:nvPr/>
          </p:nvSpPr>
          <p:spPr bwMode="auto">
            <a:xfrm>
              <a:off x="222" y="-3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0" name="Rectangle 21"/>
            <p:cNvSpPr>
              <a:spLocks noChangeArrowheads="1"/>
            </p:cNvSpPr>
            <p:nvPr/>
          </p:nvSpPr>
          <p:spPr bwMode="auto">
            <a:xfrm>
              <a:off x="567" y="-3"/>
              <a:ext cx="204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1" name="Freeform 22"/>
            <p:cNvSpPr>
              <a:spLocks/>
            </p:cNvSpPr>
            <p:nvPr/>
          </p:nvSpPr>
          <p:spPr bwMode="auto">
            <a:xfrm>
              <a:off x="222" y="49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222" y="754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3" name="Freeform 24"/>
            <p:cNvSpPr>
              <a:spLocks/>
            </p:cNvSpPr>
            <p:nvPr/>
          </p:nvSpPr>
          <p:spPr bwMode="auto">
            <a:xfrm>
              <a:off x="222" y="1010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222" y="126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5" name="Freeform 26"/>
            <p:cNvSpPr>
              <a:spLocks/>
            </p:cNvSpPr>
            <p:nvPr/>
          </p:nvSpPr>
          <p:spPr bwMode="auto">
            <a:xfrm>
              <a:off x="222" y="1522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6" name="Freeform 27"/>
            <p:cNvSpPr>
              <a:spLocks/>
            </p:cNvSpPr>
            <p:nvPr/>
          </p:nvSpPr>
          <p:spPr bwMode="auto">
            <a:xfrm>
              <a:off x="219" y="4178"/>
              <a:ext cx="349" cy="149"/>
            </a:xfrm>
            <a:custGeom>
              <a:avLst/>
              <a:gdLst/>
              <a:ahLst/>
              <a:cxnLst>
                <a:cxn ang="0">
                  <a:pos x="345" y="52"/>
                </a:cxn>
                <a:cxn ang="0">
                  <a:pos x="348" y="144"/>
                </a:cxn>
                <a:cxn ang="0">
                  <a:pos x="0" y="148"/>
                </a:cxn>
                <a:cxn ang="0">
                  <a:pos x="299" y="143"/>
                </a:cxn>
                <a:cxn ang="0">
                  <a:pos x="315" y="111"/>
                </a:cxn>
                <a:cxn ang="0">
                  <a:pos x="328" y="84"/>
                </a:cxn>
                <a:cxn ang="0">
                  <a:pos x="338" y="39"/>
                </a:cxn>
                <a:cxn ang="0">
                  <a:pos x="345" y="0"/>
                </a:cxn>
                <a:cxn ang="0">
                  <a:pos x="345" y="117"/>
                </a:cxn>
              </a:cxnLst>
              <a:rect l="0" t="0" r="r" b="b"/>
              <a:pathLst>
                <a:path w="349" h="149">
                  <a:moveTo>
                    <a:pt x="345" y="52"/>
                  </a:moveTo>
                  <a:lnTo>
                    <a:pt x="348" y="144"/>
                  </a:lnTo>
                  <a:lnTo>
                    <a:pt x="0" y="148"/>
                  </a:lnTo>
                  <a:lnTo>
                    <a:pt x="299" y="143"/>
                  </a:lnTo>
                  <a:lnTo>
                    <a:pt x="315" y="111"/>
                  </a:lnTo>
                  <a:lnTo>
                    <a:pt x="328" y="84"/>
                  </a:lnTo>
                  <a:lnTo>
                    <a:pt x="338" y="39"/>
                  </a:lnTo>
                  <a:lnTo>
                    <a:pt x="345" y="0"/>
                  </a:lnTo>
                  <a:lnTo>
                    <a:pt x="345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7" name="Freeform 28"/>
            <p:cNvSpPr>
              <a:spLocks/>
            </p:cNvSpPr>
            <p:nvPr/>
          </p:nvSpPr>
          <p:spPr bwMode="auto">
            <a:xfrm>
              <a:off x="222" y="211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auto">
            <a:xfrm>
              <a:off x="222" y="-3"/>
              <a:ext cx="346" cy="574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2"/>
                </a:cxn>
                <a:cxn ang="0">
                  <a:pos x="30" y="432"/>
                </a:cxn>
                <a:cxn ang="0">
                  <a:pos x="17" y="462"/>
                </a:cxn>
                <a:cxn ang="0">
                  <a:pos x="10" y="509"/>
                </a:cxn>
                <a:cxn ang="0">
                  <a:pos x="0" y="573"/>
                </a:cxn>
                <a:cxn ang="0">
                  <a:pos x="0" y="292"/>
                </a:cxn>
                <a:cxn ang="0">
                  <a:pos x="5" y="319"/>
                </a:cxn>
                <a:cxn ang="0">
                  <a:pos x="10" y="331"/>
                </a:cxn>
                <a:cxn ang="0">
                  <a:pos x="20" y="337"/>
                </a:cxn>
                <a:cxn ang="0">
                  <a:pos x="30" y="340"/>
                </a:cxn>
                <a:cxn ang="0">
                  <a:pos x="45" y="340"/>
                </a:cxn>
                <a:cxn ang="0">
                  <a:pos x="60" y="334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4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2"/>
                  </a:lnTo>
                  <a:lnTo>
                    <a:pt x="30" y="432"/>
                  </a:lnTo>
                  <a:lnTo>
                    <a:pt x="17" y="462"/>
                  </a:lnTo>
                  <a:lnTo>
                    <a:pt x="10" y="509"/>
                  </a:lnTo>
                  <a:lnTo>
                    <a:pt x="0" y="573"/>
                  </a:lnTo>
                  <a:lnTo>
                    <a:pt x="0" y="292"/>
                  </a:lnTo>
                  <a:lnTo>
                    <a:pt x="5" y="319"/>
                  </a:lnTo>
                  <a:lnTo>
                    <a:pt x="10" y="331"/>
                  </a:lnTo>
                  <a:lnTo>
                    <a:pt x="20" y="337"/>
                  </a:lnTo>
                  <a:lnTo>
                    <a:pt x="30" y="340"/>
                  </a:lnTo>
                  <a:lnTo>
                    <a:pt x="45" y="340"/>
                  </a:lnTo>
                  <a:lnTo>
                    <a:pt x="60" y="334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auto">
            <a:xfrm>
              <a:off x="224" y="-6"/>
              <a:ext cx="154" cy="294"/>
            </a:xfrm>
            <a:custGeom>
              <a:avLst/>
              <a:gdLst/>
              <a:ahLst/>
              <a:cxnLst>
                <a:cxn ang="0">
                  <a:pos x="153" y="3"/>
                </a:cxn>
                <a:cxn ang="0">
                  <a:pos x="50" y="122"/>
                </a:cxn>
                <a:cxn ang="0">
                  <a:pos x="30" y="152"/>
                </a:cxn>
                <a:cxn ang="0">
                  <a:pos x="17" y="182"/>
                </a:cxn>
                <a:cxn ang="0">
                  <a:pos x="10" y="229"/>
                </a:cxn>
                <a:cxn ang="0">
                  <a:pos x="0" y="293"/>
                </a:cxn>
                <a:cxn ang="0">
                  <a:pos x="0" y="12"/>
                </a:cxn>
                <a:cxn ang="0">
                  <a:pos x="5" y="39"/>
                </a:cxn>
                <a:cxn ang="0">
                  <a:pos x="10" y="51"/>
                </a:cxn>
                <a:cxn ang="0">
                  <a:pos x="20" y="57"/>
                </a:cxn>
                <a:cxn ang="0">
                  <a:pos x="30" y="60"/>
                </a:cxn>
                <a:cxn ang="0">
                  <a:pos x="45" y="60"/>
                </a:cxn>
                <a:cxn ang="0">
                  <a:pos x="60" y="54"/>
                </a:cxn>
                <a:cxn ang="0">
                  <a:pos x="110" y="0"/>
                </a:cxn>
              </a:cxnLst>
              <a:rect l="0" t="0" r="r" b="b"/>
              <a:pathLst>
                <a:path w="154" h="294">
                  <a:moveTo>
                    <a:pt x="153" y="3"/>
                  </a:moveTo>
                  <a:lnTo>
                    <a:pt x="50" y="122"/>
                  </a:lnTo>
                  <a:lnTo>
                    <a:pt x="30" y="152"/>
                  </a:lnTo>
                  <a:lnTo>
                    <a:pt x="17" y="182"/>
                  </a:lnTo>
                  <a:lnTo>
                    <a:pt x="10" y="229"/>
                  </a:lnTo>
                  <a:lnTo>
                    <a:pt x="0" y="293"/>
                  </a:lnTo>
                  <a:lnTo>
                    <a:pt x="0" y="12"/>
                  </a:lnTo>
                  <a:lnTo>
                    <a:pt x="5" y="39"/>
                  </a:lnTo>
                  <a:lnTo>
                    <a:pt x="10" y="51"/>
                  </a:lnTo>
                  <a:lnTo>
                    <a:pt x="20" y="57"/>
                  </a:lnTo>
                  <a:lnTo>
                    <a:pt x="30" y="60"/>
                  </a:lnTo>
                  <a:lnTo>
                    <a:pt x="45" y="60"/>
                  </a:lnTo>
                  <a:lnTo>
                    <a:pt x="60" y="54"/>
                  </a:lnTo>
                  <a:lnTo>
                    <a:pt x="110" y="0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auto">
            <a:xfrm>
              <a:off x="222" y="179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1" name="Rectangle 32"/>
            <p:cNvSpPr>
              <a:spLocks noChangeArrowheads="1"/>
            </p:cNvSpPr>
            <p:nvPr/>
          </p:nvSpPr>
          <p:spPr bwMode="auto">
            <a:xfrm>
              <a:off x="771" y="0"/>
              <a:ext cx="210" cy="4319"/>
            </a:xfrm>
            <a:prstGeom prst="rect">
              <a:avLst/>
            </a:pr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" name="Line 33"/>
            <p:cNvSpPr>
              <a:spLocks noChangeShapeType="1"/>
            </p:cNvSpPr>
            <p:nvPr/>
          </p:nvSpPr>
          <p:spPr bwMode="auto">
            <a:xfrm>
              <a:off x="13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3" name="Line 34"/>
            <p:cNvSpPr>
              <a:spLocks noChangeShapeType="1"/>
            </p:cNvSpPr>
            <p:nvPr/>
          </p:nvSpPr>
          <p:spPr bwMode="auto">
            <a:xfrm>
              <a:off x="64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</p:grpSp>
      <p:grpSp>
        <p:nvGrpSpPr>
          <p:cNvPr id="34" name="Group 35"/>
          <p:cNvGrpSpPr>
            <a:grpSpLocks/>
          </p:cNvGrpSpPr>
          <p:nvPr/>
        </p:nvGrpSpPr>
        <p:grpSpPr bwMode="auto">
          <a:xfrm>
            <a:off x="523875" y="1428750"/>
            <a:ext cx="2095500" cy="2095500"/>
            <a:chOff x="330" y="900"/>
            <a:chExt cx="1320" cy="1320"/>
          </a:xfrm>
        </p:grpSpPr>
        <p:sp>
          <p:nvSpPr>
            <p:cNvPr id="35" name="Rectangle 36"/>
            <p:cNvSpPr>
              <a:spLocks noChangeArrowheads="1"/>
            </p:cNvSpPr>
            <p:nvPr/>
          </p:nvSpPr>
          <p:spPr bwMode="auto">
            <a:xfrm>
              <a:off x="975" y="900"/>
              <a:ext cx="675" cy="1320"/>
            </a:xfrm>
            <a:prstGeom prst="rect">
              <a:avLst/>
            </a:pr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grpSp>
          <p:nvGrpSpPr>
            <p:cNvPr id="36" name="Group 37"/>
            <p:cNvGrpSpPr>
              <a:grpSpLocks/>
            </p:cNvGrpSpPr>
            <p:nvPr/>
          </p:nvGrpSpPr>
          <p:grpSpPr bwMode="auto">
            <a:xfrm>
              <a:off x="330" y="1015"/>
              <a:ext cx="1079" cy="1060"/>
              <a:chOff x="330" y="1015"/>
              <a:chExt cx="1079" cy="1060"/>
            </a:xfrm>
          </p:grpSpPr>
          <p:grpSp>
            <p:nvGrpSpPr>
              <p:cNvPr id="37" name="Group 38"/>
              <p:cNvGrpSpPr>
                <a:grpSpLocks/>
              </p:cNvGrpSpPr>
              <p:nvPr/>
            </p:nvGrpSpPr>
            <p:grpSpPr bwMode="auto">
              <a:xfrm>
                <a:off x="330" y="1015"/>
                <a:ext cx="1079" cy="1060"/>
                <a:chOff x="330" y="1015"/>
                <a:chExt cx="1079" cy="1060"/>
              </a:xfrm>
            </p:grpSpPr>
            <p:grpSp>
              <p:nvGrpSpPr>
                <p:cNvPr id="45" name="Group 39"/>
                <p:cNvGrpSpPr>
                  <a:grpSpLocks/>
                </p:cNvGrpSpPr>
                <p:nvPr/>
              </p:nvGrpSpPr>
              <p:grpSpPr bwMode="auto">
                <a:xfrm>
                  <a:off x="330" y="1015"/>
                  <a:ext cx="1079" cy="1060"/>
                  <a:chOff x="330" y="1015"/>
                  <a:chExt cx="1079" cy="1060"/>
                </a:xfrm>
              </p:grpSpPr>
              <p:sp>
                <p:nvSpPr>
                  <p:cNvPr id="50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333" y="1910"/>
                    <a:ext cx="1074" cy="165"/>
                  </a:xfrm>
                  <a:prstGeom prst="rect">
                    <a:avLst/>
                  </a:prstGeom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accent1">
                          <a:gamma/>
                          <a:shade val="46275"/>
                          <a:invGamma/>
                        </a:schemeClr>
                      </a:gs>
                    </a:gsLst>
                    <a:lin ang="540000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  <p:sp>
                <p:nvSpPr>
                  <p:cNvPr id="51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333" y="1015"/>
                    <a:ext cx="1074" cy="165"/>
                  </a:xfrm>
                  <a:prstGeom prst="rect">
                    <a:avLst/>
                  </a:prstGeom>
                  <a:gradFill rotWithShape="0">
                    <a:gsLst>
                      <a:gs pos="0">
                        <a:schemeClr val="accent1">
                          <a:gamma/>
                          <a:shade val="46275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540000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  <p:sp>
                <p:nvSpPr>
                  <p:cNvPr id="52" name="AutoShape 42"/>
                  <p:cNvSpPr>
                    <a:spLocks noChangeArrowheads="1"/>
                  </p:cNvSpPr>
                  <p:nvPr/>
                </p:nvSpPr>
                <p:spPr bwMode="auto">
                  <a:xfrm rot="5400000" flipV="1">
                    <a:off x="-91" y="1446"/>
                    <a:ext cx="1028" cy="186"/>
                  </a:xfrm>
                  <a:custGeom>
                    <a:avLst/>
                    <a:gdLst>
                      <a:gd name="G0" fmla="+- 2645 0 0"/>
                      <a:gd name="G1" fmla="+- 21600 0 2645"/>
                      <a:gd name="G2" fmla="*/ 2645 1 2"/>
                      <a:gd name="G3" fmla="+- 21600 0 G2"/>
                      <a:gd name="G4" fmla="+/ 2645 21600 2"/>
                      <a:gd name="G5" fmla="+/ G1 0 2"/>
                      <a:gd name="G6" fmla="*/ 21600 21600 2645"/>
                      <a:gd name="G7" fmla="*/ G6 1 2"/>
                      <a:gd name="G8" fmla="+- 21600 0 G7"/>
                      <a:gd name="G9" fmla="*/ 21600 1 2"/>
                      <a:gd name="G10" fmla="+- 2645 0 G9"/>
                      <a:gd name="G11" fmla="?: G10 G8 0"/>
                      <a:gd name="G12" fmla="?: G10 G7 21600"/>
                      <a:gd name="T0" fmla="*/ 20277 w 21600"/>
                      <a:gd name="T1" fmla="*/ 10800 h 21600"/>
                      <a:gd name="T2" fmla="*/ 10800 w 21600"/>
                      <a:gd name="T3" fmla="*/ 21600 h 21600"/>
                      <a:gd name="T4" fmla="*/ 1323 w 21600"/>
                      <a:gd name="T5" fmla="*/ 10800 h 21600"/>
                      <a:gd name="T6" fmla="*/ 10800 w 21600"/>
                      <a:gd name="T7" fmla="*/ 0 h 21600"/>
                      <a:gd name="T8" fmla="*/ 3123 w 21600"/>
                      <a:gd name="T9" fmla="*/ 3123 h 21600"/>
                      <a:gd name="T10" fmla="*/ 18477 w 21600"/>
                      <a:gd name="T11" fmla="*/ 1847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645" y="21600"/>
                        </a:lnTo>
                        <a:lnTo>
                          <a:pt x="1895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chemeClr val="accent1">
                          <a:gamma/>
                          <a:shade val="46275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  <p:sp>
                <p:nvSpPr>
                  <p:cNvPr id="53" name="AutoShape 43"/>
                  <p:cNvSpPr>
                    <a:spLocks noChangeArrowheads="1"/>
                  </p:cNvSpPr>
                  <p:nvPr/>
                </p:nvSpPr>
                <p:spPr bwMode="auto">
                  <a:xfrm rot="-5400000" flipH="1" flipV="1">
                    <a:off x="802" y="1436"/>
                    <a:ext cx="1028" cy="186"/>
                  </a:xfrm>
                  <a:custGeom>
                    <a:avLst/>
                    <a:gdLst>
                      <a:gd name="G0" fmla="+- 2645 0 0"/>
                      <a:gd name="G1" fmla="+- 21600 0 2645"/>
                      <a:gd name="G2" fmla="*/ 2645 1 2"/>
                      <a:gd name="G3" fmla="+- 21600 0 G2"/>
                      <a:gd name="G4" fmla="+/ 2645 21600 2"/>
                      <a:gd name="G5" fmla="+/ G1 0 2"/>
                      <a:gd name="G6" fmla="*/ 21600 21600 2645"/>
                      <a:gd name="G7" fmla="*/ G6 1 2"/>
                      <a:gd name="G8" fmla="+- 21600 0 G7"/>
                      <a:gd name="G9" fmla="*/ 21600 1 2"/>
                      <a:gd name="G10" fmla="+- 2645 0 G9"/>
                      <a:gd name="G11" fmla="?: G10 G8 0"/>
                      <a:gd name="G12" fmla="?: G10 G7 21600"/>
                      <a:gd name="T0" fmla="*/ 20277 w 21600"/>
                      <a:gd name="T1" fmla="*/ 10800 h 21600"/>
                      <a:gd name="T2" fmla="*/ 10800 w 21600"/>
                      <a:gd name="T3" fmla="*/ 21600 h 21600"/>
                      <a:gd name="T4" fmla="*/ 1323 w 21600"/>
                      <a:gd name="T5" fmla="*/ 10800 h 21600"/>
                      <a:gd name="T6" fmla="*/ 10800 w 21600"/>
                      <a:gd name="T7" fmla="*/ 0 h 21600"/>
                      <a:gd name="T8" fmla="*/ 3123 w 21600"/>
                      <a:gd name="T9" fmla="*/ 3123 h 21600"/>
                      <a:gd name="T10" fmla="*/ 18477 w 21600"/>
                      <a:gd name="T11" fmla="*/ 1847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645" y="21600"/>
                        </a:lnTo>
                        <a:lnTo>
                          <a:pt x="1895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accent1">
                          <a:gamma/>
                          <a:shade val="46275"/>
                          <a:invGamma/>
                        </a:schemeClr>
                      </a:gs>
                    </a:gsLst>
                    <a:lin ang="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</p:grpSp>
            <p:sp>
              <p:nvSpPr>
                <p:cNvPr id="46" name="Rectangle 44"/>
                <p:cNvSpPr>
                  <a:spLocks noChangeArrowheads="1"/>
                </p:cNvSpPr>
                <p:nvPr/>
              </p:nvSpPr>
              <p:spPr bwMode="auto">
                <a:xfrm>
                  <a:off x="433" y="1111"/>
                  <a:ext cx="874" cy="868"/>
                </a:xfrm>
                <a:prstGeom prst="rect">
                  <a:avLst/>
                </a:pr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100000">
                      <a:schemeClr val="accent1"/>
                    </a:gs>
                  </a:gsLst>
                  <a:path path="shape">
                    <a:fillToRect l="50000" t="50000" r="50000" b="50000"/>
                  </a:path>
                </a:gra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7" name="Oval 45"/>
                <p:cNvSpPr>
                  <a:spLocks noChangeArrowheads="1"/>
                </p:cNvSpPr>
                <p:nvPr/>
              </p:nvSpPr>
              <p:spPr bwMode="auto">
                <a:xfrm>
                  <a:off x="484" y="1170"/>
                  <a:ext cx="772" cy="750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8" name="Oval 46"/>
                <p:cNvSpPr>
                  <a:spLocks noChangeArrowheads="1"/>
                </p:cNvSpPr>
                <p:nvPr/>
              </p:nvSpPr>
              <p:spPr bwMode="auto">
                <a:xfrm>
                  <a:off x="559" y="1241"/>
                  <a:ext cx="622" cy="608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100000">
                      <a:schemeClr val="accent1"/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9" name="Oval 47"/>
                <p:cNvSpPr>
                  <a:spLocks noChangeArrowheads="1"/>
                </p:cNvSpPr>
                <p:nvPr/>
              </p:nvSpPr>
              <p:spPr bwMode="auto">
                <a:xfrm>
                  <a:off x="624" y="1303"/>
                  <a:ext cx="492" cy="484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</p:grpSp>
          <p:grpSp>
            <p:nvGrpSpPr>
              <p:cNvPr id="38" name="Group 48"/>
              <p:cNvGrpSpPr>
                <a:grpSpLocks/>
              </p:cNvGrpSpPr>
              <p:nvPr/>
            </p:nvGrpSpPr>
            <p:grpSpPr bwMode="auto">
              <a:xfrm>
                <a:off x="634" y="1345"/>
                <a:ext cx="447" cy="402"/>
                <a:chOff x="634" y="1345"/>
                <a:chExt cx="447" cy="402"/>
              </a:xfrm>
            </p:grpSpPr>
            <p:sp>
              <p:nvSpPr>
                <p:cNvPr id="39" name="Arc 49"/>
                <p:cNvSpPr>
                  <a:spLocks/>
                </p:cNvSpPr>
                <p:nvPr/>
              </p:nvSpPr>
              <p:spPr bwMode="auto">
                <a:xfrm>
                  <a:off x="856" y="1409"/>
                  <a:ext cx="34" cy="288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43200"/>
                    <a:gd name="T2" fmla="*/ 0 w 21600"/>
                    <a:gd name="T3" fmla="*/ 43200 h 43200"/>
                    <a:gd name="T4" fmla="*/ 0 w 21600"/>
                    <a:gd name="T5" fmla="*/ 21600 h 43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432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cubicBezTo>
                        <a:pt x="21600" y="33529"/>
                        <a:pt x="11929" y="43199"/>
                        <a:pt x="0" y="43200"/>
                      </a:cubicBezTo>
                    </a:path>
                    <a:path w="21600" h="432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cubicBezTo>
                        <a:pt x="21600" y="33529"/>
                        <a:pt x="11929" y="43199"/>
                        <a:pt x="0" y="432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0" name="Arc 50"/>
                <p:cNvSpPr>
                  <a:spLocks/>
                </p:cNvSpPr>
                <p:nvPr/>
              </p:nvSpPr>
              <p:spPr bwMode="auto">
                <a:xfrm>
                  <a:off x="827" y="1409"/>
                  <a:ext cx="34" cy="288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21600 w 21600"/>
                    <a:gd name="T1" fmla="*/ 43200 h 43200"/>
                    <a:gd name="T2" fmla="*/ 21600 w 21600"/>
                    <a:gd name="T3" fmla="*/ 0 h 43200"/>
                    <a:gd name="T4" fmla="*/ 21600 w 21600"/>
                    <a:gd name="T5" fmla="*/ 21600 h 43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43200" fill="none" extrusionOk="0">
                      <a:moveTo>
                        <a:pt x="21600" y="43200"/>
                      </a:moveTo>
                      <a:cubicBezTo>
                        <a:pt x="9670" y="43200"/>
                        <a:pt x="0" y="33529"/>
                        <a:pt x="0" y="21600"/>
                      </a:cubicBezTo>
                      <a:cubicBezTo>
                        <a:pt x="-1" y="9670"/>
                        <a:pt x="9670" y="0"/>
                        <a:pt x="21599" y="0"/>
                      </a:cubicBezTo>
                    </a:path>
                    <a:path w="21600" h="43200" stroke="0" extrusionOk="0">
                      <a:moveTo>
                        <a:pt x="21600" y="43200"/>
                      </a:moveTo>
                      <a:cubicBezTo>
                        <a:pt x="9670" y="43200"/>
                        <a:pt x="0" y="33529"/>
                        <a:pt x="0" y="21600"/>
                      </a:cubicBezTo>
                      <a:cubicBezTo>
                        <a:pt x="-1" y="9670"/>
                        <a:pt x="9670" y="0"/>
                        <a:pt x="21599" y="0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100000">
                      <a:schemeClr val="accent1"/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1" name="AutoShape 51"/>
                <p:cNvSpPr>
                  <a:spLocks noChangeArrowheads="1"/>
                </p:cNvSpPr>
                <p:nvPr/>
              </p:nvSpPr>
              <p:spPr bwMode="auto">
                <a:xfrm>
                  <a:off x="798" y="1694"/>
                  <a:ext cx="122" cy="53"/>
                </a:xfrm>
                <a:prstGeom prst="roundRect">
                  <a:avLst>
                    <a:gd name="adj" fmla="val 49995"/>
                  </a:avLst>
                </a:pr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2" name="Freeform 52"/>
                <p:cNvSpPr>
                  <a:spLocks/>
                </p:cNvSpPr>
                <p:nvPr/>
              </p:nvSpPr>
              <p:spPr bwMode="auto">
                <a:xfrm>
                  <a:off x="634" y="1467"/>
                  <a:ext cx="221" cy="230"/>
                </a:xfrm>
                <a:custGeom>
                  <a:avLst/>
                  <a:gdLst/>
                  <a:ahLst/>
                  <a:cxnLst>
                    <a:cxn ang="0">
                      <a:pos x="212" y="204"/>
                    </a:cxn>
                    <a:cxn ang="0">
                      <a:pos x="194" y="158"/>
                    </a:cxn>
                    <a:cxn ang="0">
                      <a:pos x="188" y="111"/>
                    </a:cxn>
                    <a:cxn ang="0">
                      <a:pos x="183" y="72"/>
                    </a:cxn>
                    <a:cxn ang="0">
                      <a:pos x="178" y="52"/>
                    </a:cxn>
                    <a:cxn ang="0">
                      <a:pos x="169" y="37"/>
                    </a:cxn>
                    <a:cxn ang="0">
                      <a:pos x="157" y="24"/>
                    </a:cxn>
                    <a:cxn ang="0">
                      <a:pos x="143" y="13"/>
                    </a:cxn>
                    <a:cxn ang="0">
                      <a:pos x="124" y="5"/>
                    </a:cxn>
                    <a:cxn ang="0">
                      <a:pos x="100" y="0"/>
                    </a:cxn>
                    <a:cxn ang="0">
                      <a:pos x="76" y="0"/>
                    </a:cxn>
                    <a:cxn ang="0">
                      <a:pos x="54" y="7"/>
                    </a:cxn>
                    <a:cxn ang="0">
                      <a:pos x="35" y="16"/>
                    </a:cxn>
                    <a:cxn ang="0">
                      <a:pos x="18" y="31"/>
                    </a:cxn>
                    <a:cxn ang="0">
                      <a:pos x="5" y="51"/>
                    </a:cxn>
                    <a:cxn ang="0">
                      <a:pos x="0" y="73"/>
                    </a:cxn>
                    <a:cxn ang="0">
                      <a:pos x="3" y="72"/>
                    </a:cxn>
                    <a:cxn ang="0">
                      <a:pos x="15" y="64"/>
                    </a:cxn>
                    <a:cxn ang="0">
                      <a:pos x="35" y="58"/>
                    </a:cxn>
                    <a:cxn ang="0">
                      <a:pos x="56" y="57"/>
                    </a:cxn>
                    <a:cxn ang="0">
                      <a:pos x="74" y="63"/>
                    </a:cxn>
                    <a:cxn ang="0">
                      <a:pos x="87" y="73"/>
                    </a:cxn>
                    <a:cxn ang="0">
                      <a:pos x="93" y="85"/>
                    </a:cxn>
                    <a:cxn ang="0">
                      <a:pos x="96" y="102"/>
                    </a:cxn>
                    <a:cxn ang="0">
                      <a:pos x="100" y="124"/>
                    </a:cxn>
                    <a:cxn ang="0">
                      <a:pos x="106" y="147"/>
                    </a:cxn>
                    <a:cxn ang="0">
                      <a:pos x="116" y="168"/>
                    </a:cxn>
                    <a:cxn ang="0">
                      <a:pos x="131" y="190"/>
                    </a:cxn>
                    <a:cxn ang="0">
                      <a:pos x="150" y="207"/>
                    </a:cxn>
                    <a:cxn ang="0">
                      <a:pos x="172" y="219"/>
                    </a:cxn>
                    <a:cxn ang="0">
                      <a:pos x="194" y="226"/>
                    </a:cxn>
                    <a:cxn ang="0">
                      <a:pos x="220" y="229"/>
                    </a:cxn>
                  </a:cxnLst>
                  <a:rect l="0" t="0" r="r" b="b"/>
                  <a:pathLst>
                    <a:path w="221" h="230">
                      <a:moveTo>
                        <a:pt x="220" y="229"/>
                      </a:moveTo>
                      <a:lnTo>
                        <a:pt x="212" y="204"/>
                      </a:lnTo>
                      <a:lnTo>
                        <a:pt x="202" y="180"/>
                      </a:lnTo>
                      <a:lnTo>
                        <a:pt x="194" y="158"/>
                      </a:lnTo>
                      <a:lnTo>
                        <a:pt x="190" y="136"/>
                      </a:lnTo>
                      <a:lnTo>
                        <a:pt x="188" y="111"/>
                      </a:lnTo>
                      <a:lnTo>
                        <a:pt x="185" y="85"/>
                      </a:lnTo>
                      <a:lnTo>
                        <a:pt x="183" y="72"/>
                      </a:lnTo>
                      <a:lnTo>
                        <a:pt x="181" y="61"/>
                      </a:lnTo>
                      <a:lnTo>
                        <a:pt x="178" y="52"/>
                      </a:lnTo>
                      <a:lnTo>
                        <a:pt x="173" y="43"/>
                      </a:lnTo>
                      <a:lnTo>
                        <a:pt x="169" y="37"/>
                      </a:lnTo>
                      <a:lnTo>
                        <a:pt x="164" y="30"/>
                      </a:lnTo>
                      <a:lnTo>
                        <a:pt x="157" y="24"/>
                      </a:lnTo>
                      <a:lnTo>
                        <a:pt x="150" y="18"/>
                      </a:lnTo>
                      <a:lnTo>
                        <a:pt x="143" y="13"/>
                      </a:lnTo>
                      <a:lnTo>
                        <a:pt x="134" y="9"/>
                      </a:lnTo>
                      <a:lnTo>
                        <a:pt x="124" y="5"/>
                      </a:lnTo>
                      <a:lnTo>
                        <a:pt x="112" y="2"/>
                      </a:lnTo>
                      <a:lnTo>
                        <a:pt x="100" y="0"/>
                      </a:lnTo>
                      <a:lnTo>
                        <a:pt x="88" y="0"/>
                      </a:lnTo>
                      <a:lnTo>
                        <a:pt x="76" y="0"/>
                      </a:lnTo>
                      <a:lnTo>
                        <a:pt x="65" y="2"/>
                      </a:lnTo>
                      <a:lnTo>
                        <a:pt x="54" y="7"/>
                      </a:lnTo>
                      <a:lnTo>
                        <a:pt x="45" y="10"/>
                      </a:lnTo>
                      <a:lnTo>
                        <a:pt x="35" y="16"/>
                      </a:lnTo>
                      <a:lnTo>
                        <a:pt x="25" y="24"/>
                      </a:lnTo>
                      <a:lnTo>
                        <a:pt x="18" y="31"/>
                      </a:lnTo>
                      <a:lnTo>
                        <a:pt x="11" y="41"/>
                      </a:lnTo>
                      <a:lnTo>
                        <a:pt x="5" y="51"/>
                      </a:lnTo>
                      <a:lnTo>
                        <a:pt x="1" y="63"/>
                      </a:lnTo>
                      <a:lnTo>
                        <a:pt x="0" y="73"/>
                      </a:lnTo>
                      <a:lnTo>
                        <a:pt x="0" y="79"/>
                      </a:lnTo>
                      <a:lnTo>
                        <a:pt x="3" y="72"/>
                      </a:lnTo>
                      <a:lnTo>
                        <a:pt x="8" y="67"/>
                      </a:lnTo>
                      <a:lnTo>
                        <a:pt x="15" y="64"/>
                      </a:lnTo>
                      <a:lnTo>
                        <a:pt x="25" y="60"/>
                      </a:lnTo>
                      <a:lnTo>
                        <a:pt x="35" y="58"/>
                      </a:lnTo>
                      <a:lnTo>
                        <a:pt x="46" y="57"/>
                      </a:lnTo>
                      <a:lnTo>
                        <a:pt x="56" y="57"/>
                      </a:lnTo>
                      <a:lnTo>
                        <a:pt x="67" y="60"/>
                      </a:lnTo>
                      <a:lnTo>
                        <a:pt x="74" y="63"/>
                      </a:lnTo>
                      <a:lnTo>
                        <a:pt x="81" y="67"/>
                      </a:lnTo>
                      <a:lnTo>
                        <a:pt x="87" y="73"/>
                      </a:lnTo>
                      <a:lnTo>
                        <a:pt x="91" y="78"/>
                      </a:lnTo>
                      <a:lnTo>
                        <a:pt x="93" y="85"/>
                      </a:lnTo>
                      <a:lnTo>
                        <a:pt x="95" y="92"/>
                      </a:lnTo>
                      <a:lnTo>
                        <a:pt x="96" y="102"/>
                      </a:lnTo>
                      <a:lnTo>
                        <a:pt x="98" y="112"/>
                      </a:lnTo>
                      <a:lnTo>
                        <a:pt x="100" y="124"/>
                      </a:lnTo>
                      <a:lnTo>
                        <a:pt x="103" y="135"/>
                      </a:lnTo>
                      <a:lnTo>
                        <a:pt x="106" y="147"/>
                      </a:lnTo>
                      <a:lnTo>
                        <a:pt x="111" y="158"/>
                      </a:lnTo>
                      <a:lnTo>
                        <a:pt x="116" y="168"/>
                      </a:lnTo>
                      <a:lnTo>
                        <a:pt x="123" y="180"/>
                      </a:lnTo>
                      <a:lnTo>
                        <a:pt x="131" y="190"/>
                      </a:lnTo>
                      <a:lnTo>
                        <a:pt x="140" y="199"/>
                      </a:lnTo>
                      <a:lnTo>
                        <a:pt x="150" y="207"/>
                      </a:lnTo>
                      <a:lnTo>
                        <a:pt x="163" y="215"/>
                      </a:lnTo>
                      <a:lnTo>
                        <a:pt x="172" y="219"/>
                      </a:lnTo>
                      <a:lnTo>
                        <a:pt x="183" y="223"/>
                      </a:lnTo>
                      <a:lnTo>
                        <a:pt x="194" y="226"/>
                      </a:lnTo>
                      <a:lnTo>
                        <a:pt x="207" y="228"/>
                      </a:lnTo>
                      <a:lnTo>
                        <a:pt x="220" y="229"/>
                      </a:lnTo>
                    </a:path>
                  </a:pathLst>
                </a:cu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3" name="Freeform 53"/>
                <p:cNvSpPr>
                  <a:spLocks/>
                </p:cNvSpPr>
                <p:nvPr/>
              </p:nvSpPr>
              <p:spPr bwMode="auto">
                <a:xfrm>
                  <a:off x="859" y="1467"/>
                  <a:ext cx="222" cy="230"/>
                </a:xfrm>
                <a:custGeom>
                  <a:avLst/>
                  <a:gdLst/>
                  <a:ahLst/>
                  <a:cxnLst>
                    <a:cxn ang="0">
                      <a:pos x="7" y="204"/>
                    </a:cxn>
                    <a:cxn ang="0">
                      <a:pos x="25" y="158"/>
                    </a:cxn>
                    <a:cxn ang="0">
                      <a:pos x="31" y="111"/>
                    </a:cxn>
                    <a:cxn ang="0">
                      <a:pos x="36" y="72"/>
                    </a:cxn>
                    <a:cxn ang="0">
                      <a:pos x="41" y="52"/>
                    </a:cxn>
                    <a:cxn ang="0">
                      <a:pos x="50" y="37"/>
                    </a:cxn>
                    <a:cxn ang="0">
                      <a:pos x="62" y="24"/>
                    </a:cxn>
                    <a:cxn ang="0">
                      <a:pos x="77" y="13"/>
                    </a:cxn>
                    <a:cxn ang="0">
                      <a:pos x="96" y="5"/>
                    </a:cxn>
                    <a:cxn ang="0">
                      <a:pos x="120" y="0"/>
                    </a:cxn>
                    <a:cxn ang="0">
                      <a:pos x="143" y="0"/>
                    </a:cxn>
                    <a:cxn ang="0">
                      <a:pos x="165" y="7"/>
                    </a:cxn>
                    <a:cxn ang="0">
                      <a:pos x="184" y="16"/>
                    </a:cxn>
                    <a:cxn ang="0">
                      <a:pos x="201" y="31"/>
                    </a:cxn>
                    <a:cxn ang="0">
                      <a:pos x="215" y="51"/>
                    </a:cxn>
                    <a:cxn ang="0">
                      <a:pos x="221" y="73"/>
                    </a:cxn>
                    <a:cxn ang="0">
                      <a:pos x="217" y="72"/>
                    </a:cxn>
                    <a:cxn ang="0">
                      <a:pos x="205" y="64"/>
                    </a:cxn>
                    <a:cxn ang="0">
                      <a:pos x="184" y="58"/>
                    </a:cxn>
                    <a:cxn ang="0">
                      <a:pos x="164" y="57"/>
                    </a:cxn>
                    <a:cxn ang="0">
                      <a:pos x="145" y="63"/>
                    </a:cxn>
                    <a:cxn ang="0">
                      <a:pos x="132" y="73"/>
                    </a:cxn>
                    <a:cxn ang="0">
                      <a:pos x="127" y="85"/>
                    </a:cxn>
                    <a:cxn ang="0">
                      <a:pos x="123" y="102"/>
                    </a:cxn>
                    <a:cxn ang="0">
                      <a:pos x="120" y="124"/>
                    </a:cxn>
                    <a:cxn ang="0">
                      <a:pos x="113" y="147"/>
                    </a:cxn>
                    <a:cxn ang="0">
                      <a:pos x="104" y="168"/>
                    </a:cxn>
                    <a:cxn ang="0">
                      <a:pos x="89" y="190"/>
                    </a:cxn>
                    <a:cxn ang="0">
                      <a:pos x="69" y="207"/>
                    </a:cxn>
                    <a:cxn ang="0">
                      <a:pos x="47" y="219"/>
                    </a:cxn>
                    <a:cxn ang="0">
                      <a:pos x="25" y="226"/>
                    </a:cxn>
                    <a:cxn ang="0">
                      <a:pos x="0" y="229"/>
                    </a:cxn>
                  </a:cxnLst>
                  <a:rect l="0" t="0" r="r" b="b"/>
                  <a:pathLst>
                    <a:path w="222" h="230">
                      <a:moveTo>
                        <a:pt x="0" y="229"/>
                      </a:moveTo>
                      <a:lnTo>
                        <a:pt x="7" y="204"/>
                      </a:lnTo>
                      <a:lnTo>
                        <a:pt x="17" y="180"/>
                      </a:lnTo>
                      <a:lnTo>
                        <a:pt x="25" y="158"/>
                      </a:lnTo>
                      <a:lnTo>
                        <a:pt x="29" y="136"/>
                      </a:lnTo>
                      <a:lnTo>
                        <a:pt x="31" y="111"/>
                      </a:lnTo>
                      <a:lnTo>
                        <a:pt x="34" y="85"/>
                      </a:lnTo>
                      <a:lnTo>
                        <a:pt x="36" y="72"/>
                      </a:lnTo>
                      <a:lnTo>
                        <a:pt x="38" y="61"/>
                      </a:lnTo>
                      <a:lnTo>
                        <a:pt x="41" y="52"/>
                      </a:lnTo>
                      <a:lnTo>
                        <a:pt x="46" y="43"/>
                      </a:lnTo>
                      <a:lnTo>
                        <a:pt x="50" y="37"/>
                      </a:lnTo>
                      <a:lnTo>
                        <a:pt x="56" y="30"/>
                      </a:lnTo>
                      <a:lnTo>
                        <a:pt x="62" y="24"/>
                      </a:lnTo>
                      <a:lnTo>
                        <a:pt x="69" y="18"/>
                      </a:lnTo>
                      <a:lnTo>
                        <a:pt x="77" y="13"/>
                      </a:lnTo>
                      <a:lnTo>
                        <a:pt x="86" y="9"/>
                      </a:lnTo>
                      <a:lnTo>
                        <a:pt x="96" y="5"/>
                      </a:lnTo>
                      <a:lnTo>
                        <a:pt x="108" y="2"/>
                      </a:lnTo>
                      <a:lnTo>
                        <a:pt x="120" y="0"/>
                      </a:lnTo>
                      <a:lnTo>
                        <a:pt x="132" y="0"/>
                      </a:lnTo>
                      <a:lnTo>
                        <a:pt x="143" y="0"/>
                      </a:lnTo>
                      <a:lnTo>
                        <a:pt x="155" y="2"/>
                      </a:lnTo>
                      <a:lnTo>
                        <a:pt x="165" y="7"/>
                      </a:lnTo>
                      <a:lnTo>
                        <a:pt x="175" y="10"/>
                      </a:lnTo>
                      <a:lnTo>
                        <a:pt x="184" y="16"/>
                      </a:lnTo>
                      <a:lnTo>
                        <a:pt x="195" y="24"/>
                      </a:lnTo>
                      <a:lnTo>
                        <a:pt x="201" y="31"/>
                      </a:lnTo>
                      <a:lnTo>
                        <a:pt x="209" y="41"/>
                      </a:lnTo>
                      <a:lnTo>
                        <a:pt x="215" y="51"/>
                      </a:lnTo>
                      <a:lnTo>
                        <a:pt x="219" y="63"/>
                      </a:lnTo>
                      <a:lnTo>
                        <a:pt x="221" y="73"/>
                      </a:lnTo>
                      <a:lnTo>
                        <a:pt x="220" y="79"/>
                      </a:lnTo>
                      <a:lnTo>
                        <a:pt x="217" y="72"/>
                      </a:lnTo>
                      <a:lnTo>
                        <a:pt x="212" y="67"/>
                      </a:lnTo>
                      <a:lnTo>
                        <a:pt x="205" y="64"/>
                      </a:lnTo>
                      <a:lnTo>
                        <a:pt x="195" y="60"/>
                      </a:lnTo>
                      <a:lnTo>
                        <a:pt x="184" y="58"/>
                      </a:lnTo>
                      <a:lnTo>
                        <a:pt x="174" y="57"/>
                      </a:lnTo>
                      <a:lnTo>
                        <a:pt x="164" y="57"/>
                      </a:lnTo>
                      <a:lnTo>
                        <a:pt x="153" y="60"/>
                      </a:lnTo>
                      <a:lnTo>
                        <a:pt x="145" y="63"/>
                      </a:lnTo>
                      <a:lnTo>
                        <a:pt x="139" y="67"/>
                      </a:lnTo>
                      <a:lnTo>
                        <a:pt x="132" y="73"/>
                      </a:lnTo>
                      <a:lnTo>
                        <a:pt x="129" y="78"/>
                      </a:lnTo>
                      <a:lnTo>
                        <a:pt x="127" y="85"/>
                      </a:lnTo>
                      <a:lnTo>
                        <a:pt x="125" y="92"/>
                      </a:lnTo>
                      <a:lnTo>
                        <a:pt x="123" y="102"/>
                      </a:lnTo>
                      <a:lnTo>
                        <a:pt x="122" y="112"/>
                      </a:lnTo>
                      <a:lnTo>
                        <a:pt x="120" y="124"/>
                      </a:lnTo>
                      <a:lnTo>
                        <a:pt x="117" y="135"/>
                      </a:lnTo>
                      <a:lnTo>
                        <a:pt x="113" y="147"/>
                      </a:lnTo>
                      <a:lnTo>
                        <a:pt x="109" y="158"/>
                      </a:lnTo>
                      <a:lnTo>
                        <a:pt x="104" y="168"/>
                      </a:lnTo>
                      <a:lnTo>
                        <a:pt x="97" y="180"/>
                      </a:lnTo>
                      <a:lnTo>
                        <a:pt x="89" y="190"/>
                      </a:lnTo>
                      <a:lnTo>
                        <a:pt x="79" y="199"/>
                      </a:lnTo>
                      <a:lnTo>
                        <a:pt x="69" y="207"/>
                      </a:lnTo>
                      <a:lnTo>
                        <a:pt x="57" y="215"/>
                      </a:lnTo>
                      <a:lnTo>
                        <a:pt x="47" y="219"/>
                      </a:lnTo>
                      <a:lnTo>
                        <a:pt x="37" y="223"/>
                      </a:lnTo>
                      <a:lnTo>
                        <a:pt x="25" y="226"/>
                      </a:lnTo>
                      <a:lnTo>
                        <a:pt x="12" y="228"/>
                      </a:lnTo>
                      <a:lnTo>
                        <a:pt x="0" y="229"/>
                      </a:lnTo>
                    </a:path>
                  </a:pathLst>
                </a:cu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4" name="Oval 54"/>
                <p:cNvSpPr>
                  <a:spLocks noChangeArrowheads="1"/>
                </p:cNvSpPr>
                <p:nvPr/>
              </p:nvSpPr>
              <p:spPr bwMode="auto">
                <a:xfrm>
                  <a:off x="829" y="1345"/>
                  <a:ext cx="56" cy="52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</p:grpSp>
        </p:grpSp>
      </p:grpSp>
      <p:sp>
        <p:nvSpPr>
          <p:cNvPr id="3379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738438" y="1381125"/>
            <a:ext cx="6253162" cy="233362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741613" y="4124325"/>
            <a:ext cx="6249987" cy="1285875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4" name="Rectangle 4"/>
          <p:cNvSpPr>
            <a:spLocks noGrp="1" noChangeArrowheads="1"/>
          </p:cNvSpPr>
          <p:nvPr>
            <p:ph type="dt" sz="quarter" idx="10"/>
          </p:nvPr>
        </p:nvSpPr>
        <p:spPr>
          <a:xfrm>
            <a:off x="2743200" y="5410200"/>
            <a:ext cx="6248400" cy="457200"/>
          </a:xfrm>
        </p:spPr>
        <p:txBody>
          <a:bodyPr wrap="none"/>
          <a:lstStyle>
            <a:lvl1pPr>
              <a:defRPr sz="3200" b="1"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5" name="Rectangle 5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6" name="Rectangle 5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B97F42-47A2-48AE-B28D-6DEB16E20B73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358326"/>
      </p:ext>
    </p:extLst>
  </p:cSld>
  <p:clrMapOvr>
    <a:masterClrMapping/>
  </p:clrMapOvr>
  <p:transition spd="med">
    <p:strips dir="r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CC8854-AA76-409B-B5BE-96B19D76A570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607421"/>
      </p:ext>
    </p:extLst>
  </p:cSld>
  <p:clrMapOvr>
    <a:masterClrMapping/>
  </p:clrMapOvr>
  <p:transition spd="med">
    <p:strips dir="ru"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825331"/>
              </p:ext>
            </p:extLst>
          </p:nvPr>
        </p:nvGraphicFramePr>
        <p:xfrm>
          <a:off x="1193" y="1590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8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0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4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31" y="3922500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1994678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100" b="1" i="0">
                <a:solidFill>
                  <a:srgbClr val="2A339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55"/>
              </a:lnSpc>
            </a:pPr>
            <a:r>
              <a:rPr spc="5" dirty="0"/>
              <a:t>©</a:t>
            </a:r>
            <a:r>
              <a:rPr spc="-15" dirty="0"/>
              <a:t> </a:t>
            </a:r>
            <a:r>
              <a:rPr spc="-10" dirty="0"/>
              <a:t>А</a:t>
            </a:r>
            <a:r>
              <a:rPr spc="5" dirty="0"/>
              <a:t>О</a:t>
            </a:r>
            <a:r>
              <a:rPr spc="-10" dirty="0"/>
              <a:t> </a:t>
            </a:r>
            <a:r>
              <a:rPr spc="10" dirty="0"/>
              <a:t>«</a:t>
            </a:r>
            <a:r>
              <a:rPr spc="5" dirty="0"/>
              <a:t>Из</a:t>
            </a:r>
            <a:r>
              <a:rPr spc="-15" dirty="0"/>
              <a:t>д</a:t>
            </a:r>
            <a:r>
              <a:rPr dirty="0"/>
              <a:t>а</a:t>
            </a:r>
            <a:r>
              <a:rPr spc="-10" dirty="0"/>
              <a:t>т</a:t>
            </a:r>
            <a:r>
              <a:rPr dirty="0"/>
              <a:t>е</a:t>
            </a:r>
            <a:r>
              <a:rPr spc="-10" dirty="0"/>
              <a:t>л</a:t>
            </a:r>
            <a:r>
              <a:rPr spc="5" dirty="0"/>
              <a:t>ьс</a:t>
            </a:r>
            <a:r>
              <a:rPr spc="-10" dirty="0"/>
              <a:t>т</a:t>
            </a:r>
            <a:r>
              <a:rPr dirty="0"/>
              <a:t>во</a:t>
            </a:r>
            <a:r>
              <a:rPr spc="-45" dirty="0"/>
              <a:t> </a:t>
            </a:r>
            <a:r>
              <a:rPr spc="10" dirty="0"/>
              <a:t>«</a:t>
            </a:r>
            <a:r>
              <a:rPr spc="5" dirty="0"/>
              <a:t>П</a:t>
            </a:r>
            <a:r>
              <a:rPr spc="-5" dirty="0"/>
              <a:t>ро</a:t>
            </a:r>
            <a:r>
              <a:rPr spc="5" dirty="0"/>
              <a:t>с</a:t>
            </a:r>
            <a:r>
              <a:rPr dirty="0"/>
              <a:t>ве</a:t>
            </a:r>
            <a:r>
              <a:rPr spc="-10" dirty="0"/>
              <a:t>щ</a:t>
            </a:r>
            <a:r>
              <a:rPr dirty="0"/>
              <a:t>е</a:t>
            </a:r>
            <a:r>
              <a:rPr spc="-10" dirty="0"/>
              <a:t>н</a:t>
            </a:r>
            <a:r>
              <a:rPr spc="5" dirty="0"/>
              <a:t>и</a:t>
            </a:r>
            <a:r>
              <a:rPr dirty="0"/>
              <a:t>е</a:t>
            </a:r>
            <a:r>
              <a:rPr spc="10" dirty="0"/>
              <a:t>»</a:t>
            </a:r>
            <a:r>
              <a:rPr dirty="0"/>
              <a:t>,</a:t>
            </a:r>
            <a:r>
              <a:rPr spc="-70" dirty="0"/>
              <a:t> </a:t>
            </a:r>
            <a:r>
              <a:rPr spc="-10" dirty="0"/>
              <a:t>202</a:t>
            </a:r>
            <a:r>
              <a:rPr dirty="0"/>
              <a:t>1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9415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19938" y="228600"/>
            <a:ext cx="1871662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500188" y="228600"/>
            <a:ext cx="546735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FABEF-4376-439E-8EB2-88DBE97DA26A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509083"/>
      </p:ext>
    </p:extLst>
  </p:cSld>
  <p:clrMapOvr>
    <a:masterClrMapping/>
  </p:clrMapOvr>
  <p:transition spd="med">
    <p:strips dir="r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0" y="0"/>
            <a:ext cx="1557338" cy="6878638"/>
            <a:chOff x="0" y="-6"/>
            <a:chExt cx="981" cy="4333"/>
          </a:xfrm>
        </p:grpSpPr>
        <p:sp>
          <p:nvSpPr>
            <p:cNvPr id="5" name="Rectangle 6"/>
            <p:cNvSpPr>
              <a:spLocks noChangeArrowheads="1"/>
            </p:cNvSpPr>
            <p:nvPr/>
          </p:nvSpPr>
          <p:spPr bwMode="auto">
            <a:xfrm>
              <a:off x="453" y="2151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6" name="Rectangle 7"/>
            <p:cNvSpPr>
              <a:spLocks noChangeArrowheads="1"/>
            </p:cNvSpPr>
            <p:nvPr/>
          </p:nvSpPr>
          <p:spPr bwMode="auto">
            <a:xfrm>
              <a:off x="0" y="2151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222" y="2151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8" name="Rectangle 9"/>
            <p:cNvSpPr>
              <a:spLocks noChangeArrowheads="1"/>
            </p:cNvSpPr>
            <p:nvPr/>
          </p:nvSpPr>
          <p:spPr bwMode="auto">
            <a:xfrm>
              <a:off x="567" y="2160"/>
              <a:ext cx="204" cy="2161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222" y="2636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222" y="2908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1" name="Freeform 12"/>
            <p:cNvSpPr>
              <a:spLocks/>
            </p:cNvSpPr>
            <p:nvPr/>
          </p:nvSpPr>
          <p:spPr bwMode="auto">
            <a:xfrm>
              <a:off x="222" y="3165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222" y="3420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3" name="Freeform 14"/>
            <p:cNvSpPr>
              <a:spLocks/>
            </p:cNvSpPr>
            <p:nvPr/>
          </p:nvSpPr>
          <p:spPr bwMode="auto">
            <a:xfrm>
              <a:off x="222" y="367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301" y="3932"/>
              <a:ext cx="265" cy="392"/>
            </a:xfrm>
            <a:custGeom>
              <a:avLst/>
              <a:gdLst/>
              <a:ahLst/>
              <a:cxnLst>
                <a:cxn ang="0">
                  <a:pos x="264" y="52"/>
                </a:cxn>
                <a:cxn ang="0">
                  <a:pos x="264" y="194"/>
                </a:cxn>
                <a:cxn ang="0">
                  <a:pos x="256" y="188"/>
                </a:cxn>
                <a:cxn ang="0">
                  <a:pos x="236" y="188"/>
                </a:cxn>
                <a:cxn ang="0">
                  <a:pos x="221" y="194"/>
                </a:cxn>
                <a:cxn ang="0">
                  <a:pos x="205" y="209"/>
                </a:cxn>
                <a:cxn ang="0">
                  <a:pos x="162" y="261"/>
                </a:cxn>
                <a:cxn ang="0">
                  <a:pos x="66" y="366"/>
                </a:cxn>
                <a:cxn ang="0">
                  <a:pos x="45" y="391"/>
                </a:cxn>
                <a:cxn ang="0">
                  <a:pos x="0" y="391"/>
                </a:cxn>
                <a:cxn ang="0">
                  <a:pos x="178" y="190"/>
                </a:cxn>
                <a:cxn ang="0">
                  <a:pos x="218" y="138"/>
                </a:cxn>
                <a:cxn ang="0">
                  <a:pos x="233" y="111"/>
                </a:cxn>
                <a:cxn ang="0">
                  <a:pos x="246" y="84"/>
                </a:cxn>
                <a:cxn ang="0">
                  <a:pos x="256" y="39"/>
                </a:cxn>
                <a:cxn ang="0">
                  <a:pos x="264" y="0"/>
                </a:cxn>
                <a:cxn ang="0">
                  <a:pos x="264" y="117"/>
                </a:cxn>
              </a:cxnLst>
              <a:rect l="0" t="0" r="r" b="b"/>
              <a:pathLst>
                <a:path w="265" h="392">
                  <a:moveTo>
                    <a:pt x="264" y="52"/>
                  </a:moveTo>
                  <a:lnTo>
                    <a:pt x="264" y="194"/>
                  </a:lnTo>
                  <a:lnTo>
                    <a:pt x="256" y="188"/>
                  </a:lnTo>
                  <a:lnTo>
                    <a:pt x="236" y="188"/>
                  </a:lnTo>
                  <a:lnTo>
                    <a:pt x="221" y="194"/>
                  </a:lnTo>
                  <a:lnTo>
                    <a:pt x="205" y="209"/>
                  </a:lnTo>
                  <a:lnTo>
                    <a:pt x="162" y="261"/>
                  </a:lnTo>
                  <a:lnTo>
                    <a:pt x="66" y="366"/>
                  </a:lnTo>
                  <a:lnTo>
                    <a:pt x="45" y="391"/>
                  </a:lnTo>
                  <a:lnTo>
                    <a:pt x="0" y="391"/>
                  </a:lnTo>
                  <a:lnTo>
                    <a:pt x="178" y="190"/>
                  </a:lnTo>
                  <a:lnTo>
                    <a:pt x="218" y="138"/>
                  </a:lnTo>
                  <a:lnTo>
                    <a:pt x="233" y="111"/>
                  </a:lnTo>
                  <a:lnTo>
                    <a:pt x="246" y="84"/>
                  </a:lnTo>
                  <a:lnTo>
                    <a:pt x="256" y="39"/>
                  </a:lnTo>
                  <a:lnTo>
                    <a:pt x="264" y="0"/>
                  </a:lnTo>
                  <a:lnTo>
                    <a:pt x="264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222" y="2366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222" y="2151"/>
              <a:ext cx="346" cy="575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3"/>
                </a:cxn>
                <a:cxn ang="0">
                  <a:pos x="30" y="433"/>
                </a:cxn>
                <a:cxn ang="0">
                  <a:pos x="17" y="463"/>
                </a:cxn>
                <a:cxn ang="0">
                  <a:pos x="10" y="510"/>
                </a:cxn>
                <a:cxn ang="0">
                  <a:pos x="0" y="574"/>
                </a:cxn>
                <a:cxn ang="0">
                  <a:pos x="0" y="293"/>
                </a:cxn>
                <a:cxn ang="0">
                  <a:pos x="5" y="320"/>
                </a:cxn>
                <a:cxn ang="0">
                  <a:pos x="10" y="332"/>
                </a:cxn>
                <a:cxn ang="0">
                  <a:pos x="20" y="338"/>
                </a:cxn>
                <a:cxn ang="0">
                  <a:pos x="30" y="341"/>
                </a:cxn>
                <a:cxn ang="0">
                  <a:pos x="45" y="341"/>
                </a:cxn>
                <a:cxn ang="0">
                  <a:pos x="60" y="335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5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3"/>
                  </a:lnTo>
                  <a:lnTo>
                    <a:pt x="30" y="433"/>
                  </a:lnTo>
                  <a:lnTo>
                    <a:pt x="17" y="463"/>
                  </a:lnTo>
                  <a:lnTo>
                    <a:pt x="10" y="510"/>
                  </a:lnTo>
                  <a:lnTo>
                    <a:pt x="0" y="574"/>
                  </a:lnTo>
                  <a:lnTo>
                    <a:pt x="0" y="293"/>
                  </a:lnTo>
                  <a:lnTo>
                    <a:pt x="5" y="320"/>
                  </a:lnTo>
                  <a:lnTo>
                    <a:pt x="10" y="332"/>
                  </a:lnTo>
                  <a:lnTo>
                    <a:pt x="20" y="338"/>
                  </a:lnTo>
                  <a:lnTo>
                    <a:pt x="30" y="341"/>
                  </a:lnTo>
                  <a:lnTo>
                    <a:pt x="45" y="341"/>
                  </a:lnTo>
                  <a:lnTo>
                    <a:pt x="60" y="335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7" name="Rectangle 18"/>
            <p:cNvSpPr>
              <a:spLocks noChangeArrowheads="1"/>
            </p:cNvSpPr>
            <p:nvPr/>
          </p:nvSpPr>
          <p:spPr bwMode="auto">
            <a:xfrm>
              <a:off x="453" y="-3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8" name="Rectangle 19"/>
            <p:cNvSpPr>
              <a:spLocks noChangeArrowheads="1"/>
            </p:cNvSpPr>
            <p:nvPr/>
          </p:nvSpPr>
          <p:spPr bwMode="auto">
            <a:xfrm>
              <a:off x="0" y="-3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9" name="Rectangle 20"/>
            <p:cNvSpPr>
              <a:spLocks noChangeArrowheads="1"/>
            </p:cNvSpPr>
            <p:nvPr/>
          </p:nvSpPr>
          <p:spPr bwMode="auto">
            <a:xfrm>
              <a:off x="222" y="-3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0" name="Rectangle 21"/>
            <p:cNvSpPr>
              <a:spLocks noChangeArrowheads="1"/>
            </p:cNvSpPr>
            <p:nvPr/>
          </p:nvSpPr>
          <p:spPr bwMode="auto">
            <a:xfrm>
              <a:off x="567" y="-3"/>
              <a:ext cx="204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1" name="Freeform 22"/>
            <p:cNvSpPr>
              <a:spLocks/>
            </p:cNvSpPr>
            <p:nvPr/>
          </p:nvSpPr>
          <p:spPr bwMode="auto">
            <a:xfrm>
              <a:off x="222" y="49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222" y="754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3" name="Freeform 24"/>
            <p:cNvSpPr>
              <a:spLocks/>
            </p:cNvSpPr>
            <p:nvPr/>
          </p:nvSpPr>
          <p:spPr bwMode="auto">
            <a:xfrm>
              <a:off x="222" y="1010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222" y="126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5" name="Freeform 26"/>
            <p:cNvSpPr>
              <a:spLocks/>
            </p:cNvSpPr>
            <p:nvPr/>
          </p:nvSpPr>
          <p:spPr bwMode="auto">
            <a:xfrm>
              <a:off x="222" y="1522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6" name="Freeform 27"/>
            <p:cNvSpPr>
              <a:spLocks/>
            </p:cNvSpPr>
            <p:nvPr/>
          </p:nvSpPr>
          <p:spPr bwMode="auto">
            <a:xfrm>
              <a:off x="219" y="4178"/>
              <a:ext cx="349" cy="149"/>
            </a:xfrm>
            <a:custGeom>
              <a:avLst/>
              <a:gdLst/>
              <a:ahLst/>
              <a:cxnLst>
                <a:cxn ang="0">
                  <a:pos x="345" y="52"/>
                </a:cxn>
                <a:cxn ang="0">
                  <a:pos x="348" y="144"/>
                </a:cxn>
                <a:cxn ang="0">
                  <a:pos x="0" y="148"/>
                </a:cxn>
                <a:cxn ang="0">
                  <a:pos x="299" y="143"/>
                </a:cxn>
                <a:cxn ang="0">
                  <a:pos x="315" y="111"/>
                </a:cxn>
                <a:cxn ang="0">
                  <a:pos x="328" y="84"/>
                </a:cxn>
                <a:cxn ang="0">
                  <a:pos x="338" y="39"/>
                </a:cxn>
                <a:cxn ang="0">
                  <a:pos x="345" y="0"/>
                </a:cxn>
                <a:cxn ang="0">
                  <a:pos x="345" y="117"/>
                </a:cxn>
              </a:cxnLst>
              <a:rect l="0" t="0" r="r" b="b"/>
              <a:pathLst>
                <a:path w="349" h="149">
                  <a:moveTo>
                    <a:pt x="345" y="52"/>
                  </a:moveTo>
                  <a:lnTo>
                    <a:pt x="348" y="144"/>
                  </a:lnTo>
                  <a:lnTo>
                    <a:pt x="0" y="148"/>
                  </a:lnTo>
                  <a:lnTo>
                    <a:pt x="299" y="143"/>
                  </a:lnTo>
                  <a:lnTo>
                    <a:pt x="315" y="111"/>
                  </a:lnTo>
                  <a:lnTo>
                    <a:pt x="328" y="84"/>
                  </a:lnTo>
                  <a:lnTo>
                    <a:pt x="338" y="39"/>
                  </a:lnTo>
                  <a:lnTo>
                    <a:pt x="345" y="0"/>
                  </a:lnTo>
                  <a:lnTo>
                    <a:pt x="345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7" name="Freeform 28"/>
            <p:cNvSpPr>
              <a:spLocks/>
            </p:cNvSpPr>
            <p:nvPr/>
          </p:nvSpPr>
          <p:spPr bwMode="auto">
            <a:xfrm>
              <a:off x="222" y="211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auto">
            <a:xfrm>
              <a:off x="222" y="-3"/>
              <a:ext cx="346" cy="574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2"/>
                </a:cxn>
                <a:cxn ang="0">
                  <a:pos x="30" y="432"/>
                </a:cxn>
                <a:cxn ang="0">
                  <a:pos x="17" y="462"/>
                </a:cxn>
                <a:cxn ang="0">
                  <a:pos x="10" y="509"/>
                </a:cxn>
                <a:cxn ang="0">
                  <a:pos x="0" y="573"/>
                </a:cxn>
                <a:cxn ang="0">
                  <a:pos x="0" y="292"/>
                </a:cxn>
                <a:cxn ang="0">
                  <a:pos x="5" y="319"/>
                </a:cxn>
                <a:cxn ang="0">
                  <a:pos x="10" y="331"/>
                </a:cxn>
                <a:cxn ang="0">
                  <a:pos x="20" y="337"/>
                </a:cxn>
                <a:cxn ang="0">
                  <a:pos x="30" y="340"/>
                </a:cxn>
                <a:cxn ang="0">
                  <a:pos x="45" y="340"/>
                </a:cxn>
                <a:cxn ang="0">
                  <a:pos x="60" y="334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4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2"/>
                  </a:lnTo>
                  <a:lnTo>
                    <a:pt x="30" y="432"/>
                  </a:lnTo>
                  <a:lnTo>
                    <a:pt x="17" y="462"/>
                  </a:lnTo>
                  <a:lnTo>
                    <a:pt x="10" y="509"/>
                  </a:lnTo>
                  <a:lnTo>
                    <a:pt x="0" y="573"/>
                  </a:lnTo>
                  <a:lnTo>
                    <a:pt x="0" y="292"/>
                  </a:lnTo>
                  <a:lnTo>
                    <a:pt x="5" y="319"/>
                  </a:lnTo>
                  <a:lnTo>
                    <a:pt x="10" y="331"/>
                  </a:lnTo>
                  <a:lnTo>
                    <a:pt x="20" y="337"/>
                  </a:lnTo>
                  <a:lnTo>
                    <a:pt x="30" y="340"/>
                  </a:lnTo>
                  <a:lnTo>
                    <a:pt x="45" y="340"/>
                  </a:lnTo>
                  <a:lnTo>
                    <a:pt x="60" y="334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auto">
            <a:xfrm>
              <a:off x="224" y="-6"/>
              <a:ext cx="154" cy="294"/>
            </a:xfrm>
            <a:custGeom>
              <a:avLst/>
              <a:gdLst/>
              <a:ahLst/>
              <a:cxnLst>
                <a:cxn ang="0">
                  <a:pos x="153" y="3"/>
                </a:cxn>
                <a:cxn ang="0">
                  <a:pos x="50" y="122"/>
                </a:cxn>
                <a:cxn ang="0">
                  <a:pos x="30" y="152"/>
                </a:cxn>
                <a:cxn ang="0">
                  <a:pos x="17" y="182"/>
                </a:cxn>
                <a:cxn ang="0">
                  <a:pos x="10" y="229"/>
                </a:cxn>
                <a:cxn ang="0">
                  <a:pos x="0" y="293"/>
                </a:cxn>
                <a:cxn ang="0">
                  <a:pos x="0" y="12"/>
                </a:cxn>
                <a:cxn ang="0">
                  <a:pos x="5" y="39"/>
                </a:cxn>
                <a:cxn ang="0">
                  <a:pos x="10" y="51"/>
                </a:cxn>
                <a:cxn ang="0">
                  <a:pos x="20" y="57"/>
                </a:cxn>
                <a:cxn ang="0">
                  <a:pos x="30" y="60"/>
                </a:cxn>
                <a:cxn ang="0">
                  <a:pos x="45" y="60"/>
                </a:cxn>
                <a:cxn ang="0">
                  <a:pos x="60" y="54"/>
                </a:cxn>
                <a:cxn ang="0">
                  <a:pos x="110" y="0"/>
                </a:cxn>
              </a:cxnLst>
              <a:rect l="0" t="0" r="r" b="b"/>
              <a:pathLst>
                <a:path w="154" h="294">
                  <a:moveTo>
                    <a:pt x="153" y="3"/>
                  </a:moveTo>
                  <a:lnTo>
                    <a:pt x="50" y="122"/>
                  </a:lnTo>
                  <a:lnTo>
                    <a:pt x="30" y="152"/>
                  </a:lnTo>
                  <a:lnTo>
                    <a:pt x="17" y="182"/>
                  </a:lnTo>
                  <a:lnTo>
                    <a:pt x="10" y="229"/>
                  </a:lnTo>
                  <a:lnTo>
                    <a:pt x="0" y="293"/>
                  </a:lnTo>
                  <a:lnTo>
                    <a:pt x="0" y="12"/>
                  </a:lnTo>
                  <a:lnTo>
                    <a:pt x="5" y="39"/>
                  </a:lnTo>
                  <a:lnTo>
                    <a:pt x="10" y="51"/>
                  </a:lnTo>
                  <a:lnTo>
                    <a:pt x="20" y="57"/>
                  </a:lnTo>
                  <a:lnTo>
                    <a:pt x="30" y="60"/>
                  </a:lnTo>
                  <a:lnTo>
                    <a:pt x="45" y="60"/>
                  </a:lnTo>
                  <a:lnTo>
                    <a:pt x="60" y="54"/>
                  </a:lnTo>
                  <a:lnTo>
                    <a:pt x="110" y="0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auto">
            <a:xfrm>
              <a:off x="222" y="179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1" name="Rectangle 32"/>
            <p:cNvSpPr>
              <a:spLocks noChangeArrowheads="1"/>
            </p:cNvSpPr>
            <p:nvPr/>
          </p:nvSpPr>
          <p:spPr bwMode="auto">
            <a:xfrm>
              <a:off x="771" y="0"/>
              <a:ext cx="210" cy="4319"/>
            </a:xfrm>
            <a:prstGeom prst="rect">
              <a:avLst/>
            </a:pr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" name="Line 33"/>
            <p:cNvSpPr>
              <a:spLocks noChangeShapeType="1"/>
            </p:cNvSpPr>
            <p:nvPr/>
          </p:nvSpPr>
          <p:spPr bwMode="auto">
            <a:xfrm>
              <a:off x="13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3" name="Line 34"/>
            <p:cNvSpPr>
              <a:spLocks noChangeShapeType="1"/>
            </p:cNvSpPr>
            <p:nvPr/>
          </p:nvSpPr>
          <p:spPr bwMode="auto">
            <a:xfrm>
              <a:off x="64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</p:grpSp>
      <p:grpSp>
        <p:nvGrpSpPr>
          <p:cNvPr id="34" name="Group 35"/>
          <p:cNvGrpSpPr>
            <a:grpSpLocks/>
          </p:cNvGrpSpPr>
          <p:nvPr/>
        </p:nvGrpSpPr>
        <p:grpSpPr bwMode="auto">
          <a:xfrm>
            <a:off x="523875" y="1428750"/>
            <a:ext cx="2095500" cy="2095500"/>
            <a:chOff x="330" y="900"/>
            <a:chExt cx="1320" cy="1320"/>
          </a:xfrm>
        </p:grpSpPr>
        <p:sp>
          <p:nvSpPr>
            <p:cNvPr id="35" name="Rectangle 36"/>
            <p:cNvSpPr>
              <a:spLocks noChangeArrowheads="1"/>
            </p:cNvSpPr>
            <p:nvPr/>
          </p:nvSpPr>
          <p:spPr bwMode="auto">
            <a:xfrm>
              <a:off x="975" y="900"/>
              <a:ext cx="675" cy="1320"/>
            </a:xfrm>
            <a:prstGeom prst="rect">
              <a:avLst/>
            </a:pr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grpSp>
          <p:nvGrpSpPr>
            <p:cNvPr id="36" name="Group 37"/>
            <p:cNvGrpSpPr>
              <a:grpSpLocks/>
            </p:cNvGrpSpPr>
            <p:nvPr/>
          </p:nvGrpSpPr>
          <p:grpSpPr bwMode="auto">
            <a:xfrm>
              <a:off x="330" y="1015"/>
              <a:ext cx="1079" cy="1060"/>
              <a:chOff x="330" y="1015"/>
              <a:chExt cx="1079" cy="1060"/>
            </a:xfrm>
          </p:grpSpPr>
          <p:grpSp>
            <p:nvGrpSpPr>
              <p:cNvPr id="37" name="Group 38"/>
              <p:cNvGrpSpPr>
                <a:grpSpLocks/>
              </p:cNvGrpSpPr>
              <p:nvPr/>
            </p:nvGrpSpPr>
            <p:grpSpPr bwMode="auto">
              <a:xfrm>
                <a:off x="330" y="1015"/>
                <a:ext cx="1079" cy="1060"/>
                <a:chOff x="330" y="1015"/>
                <a:chExt cx="1079" cy="1060"/>
              </a:xfrm>
            </p:grpSpPr>
            <p:grpSp>
              <p:nvGrpSpPr>
                <p:cNvPr id="45" name="Group 39"/>
                <p:cNvGrpSpPr>
                  <a:grpSpLocks/>
                </p:cNvGrpSpPr>
                <p:nvPr/>
              </p:nvGrpSpPr>
              <p:grpSpPr bwMode="auto">
                <a:xfrm>
                  <a:off x="330" y="1015"/>
                  <a:ext cx="1079" cy="1060"/>
                  <a:chOff x="330" y="1015"/>
                  <a:chExt cx="1079" cy="1060"/>
                </a:xfrm>
              </p:grpSpPr>
              <p:sp>
                <p:nvSpPr>
                  <p:cNvPr id="50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333" y="1910"/>
                    <a:ext cx="1074" cy="165"/>
                  </a:xfrm>
                  <a:prstGeom prst="rect">
                    <a:avLst/>
                  </a:prstGeom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accent1">
                          <a:gamma/>
                          <a:shade val="46275"/>
                          <a:invGamma/>
                        </a:schemeClr>
                      </a:gs>
                    </a:gsLst>
                    <a:lin ang="540000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  <p:sp>
                <p:nvSpPr>
                  <p:cNvPr id="51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333" y="1015"/>
                    <a:ext cx="1074" cy="165"/>
                  </a:xfrm>
                  <a:prstGeom prst="rect">
                    <a:avLst/>
                  </a:prstGeom>
                  <a:gradFill rotWithShape="0">
                    <a:gsLst>
                      <a:gs pos="0">
                        <a:schemeClr val="accent1">
                          <a:gamma/>
                          <a:shade val="46275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540000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  <p:sp>
                <p:nvSpPr>
                  <p:cNvPr id="52" name="AutoShape 42"/>
                  <p:cNvSpPr>
                    <a:spLocks noChangeArrowheads="1"/>
                  </p:cNvSpPr>
                  <p:nvPr/>
                </p:nvSpPr>
                <p:spPr bwMode="auto">
                  <a:xfrm rot="5400000" flipV="1">
                    <a:off x="-91" y="1446"/>
                    <a:ext cx="1028" cy="186"/>
                  </a:xfrm>
                  <a:custGeom>
                    <a:avLst/>
                    <a:gdLst>
                      <a:gd name="G0" fmla="+- 2645 0 0"/>
                      <a:gd name="G1" fmla="+- 21600 0 2645"/>
                      <a:gd name="G2" fmla="*/ 2645 1 2"/>
                      <a:gd name="G3" fmla="+- 21600 0 G2"/>
                      <a:gd name="G4" fmla="+/ 2645 21600 2"/>
                      <a:gd name="G5" fmla="+/ G1 0 2"/>
                      <a:gd name="G6" fmla="*/ 21600 21600 2645"/>
                      <a:gd name="G7" fmla="*/ G6 1 2"/>
                      <a:gd name="G8" fmla="+- 21600 0 G7"/>
                      <a:gd name="G9" fmla="*/ 21600 1 2"/>
                      <a:gd name="G10" fmla="+- 2645 0 G9"/>
                      <a:gd name="G11" fmla="?: G10 G8 0"/>
                      <a:gd name="G12" fmla="?: G10 G7 21600"/>
                      <a:gd name="T0" fmla="*/ 20277 w 21600"/>
                      <a:gd name="T1" fmla="*/ 10800 h 21600"/>
                      <a:gd name="T2" fmla="*/ 10800 w 21600"/>
                      <a:gd name="T3" fmla="*/ 21600 h 21600"/>
                      <a:gd name="T4" fmla="*/ 1323 w 21600"/>
                      <a:gd name="T5" fmla="*/ 10800 h 21600"/>
                      <a:gd name="T6" fmla="*/ 10800 w 21600"/>
                      <a:gd name="T7" fmla="*/ 0 h 21600"/>
                      <a:gd name="T8" fmla="*/ 3123 w 21600"/>
                      <a:gd name="T9" fmla="*/ 3123 h 21600"/>
                      <a:gd name="T10" fmla="*/ 18477 w 21600"/>
                      <a:gd name="T11" fmla="*/ 1847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645" y="21600"/>
                        </a:lnTo>
                        <a:lnTo>
                          <a:pt x="1895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chemeClr val="accent1">
                          <a:gamma/>
                          <a:shade val="46275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  <p:sp>
                <p:nvSpPr>
                  <p:cNvPr id="53" name="AutoShape 43"/>
                  <p:cNvSpPr>
                    <a:spLocks noChangeArrowheads="1"/>
                  </p:cNvSpPr>
                  <p:nvPr/>
                </p:nvSpPr>
                <p:spPr bwMode="auto">
                  <a:xfrm rot="-5400000" flipH="1" flipV="1">
                    <a:off x="802" y="1436"/>
                    <a:ext cx="1028" cy="186"/>
                  </a:xfrm>
                  <a:custGeom>
                    <a:avLst/>
                    <a:gdLst>
                      <a:gd name="G0" fmla="+- 2645 0 0"/>
                      <a:gd name="G1" fmla="+- 21600 0 2645"/>
                      <a:gd name="G2" fmla="*/ 2645 1 2"/>
                      <a:gd name="G3" fmla="+- 21600 0 G2"/>
                      <a:gd name="G4" fmla="+/ 2645 21600 2"/>
                      <a:gd name="G5" fmla="+/ G1 0 2"/>
                      <a:gd name="G6" fmla="*/ 21600 21600 2645"/>
                      <a:gd name="G7" fmla="*/ G6 1 2"/>
                      <a:gd name="G8" fmla="+- 21600 0 G7"/>
                      <a:gd name="G9" fmla="*/ 21600 1 2"/>
                      <a:gd name="G10" fmla="+- 2645 0 G9"/>
                      <a:gd name="G11" fmla="?: G10 G8 0"/>
                      <a:gd name="G12" fmla="?: G10 G7 21600"/>
                      <a:gd name="T0" fmla="*/ 20277 w 21600"/>
                      <a:gd name="T1" fmla="*/ 10800 h 21600"/>
                      <a:gd name="T2" fmla="*/ 10800 w 21600"/>
                      <a:gd name="T3" fmla="*/ 21600 h 21600"/>
                      <a:gd name="T4" fmla="*/ 1323 w 21600"/>
                      <a:gd name="T5" fmla="*/ 10800 h 21600"/>
                      <a:gd name="T6" fmla="*/ 10800 w 21600"/>
                      <a:gd name="T7" fmla="*/ 0 h 21600"/>
                      <a:gd name="T8" fmla="*/ 3123 w 21600"/>
                      <a:gd name="T9" fmla="*/ 3123 h 21600"/>
                      <a:gd name="T10" fmla="*/ 18477 w 21600"/>
                      <a:gd name="T11" fmla="*/ 1847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645" y="21600"/>
                        </a:lnTo>
                        <a:lnTo>
                          <a:pt x="1895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accent1">
                          <a:gamma/>
                          <a:shade val="46275"/>
                          <a:invGamma/>
                        </a:schemeClr>
                      </a:gs>
                    </a:gsLst>
                    <a:lin ang="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</p:grpSp>
            <p:sp>
              <p:nvSpPr>
                <p:cNvPr id="46" name="Rectangle 44"/>
                <p:cNvSpPr>
                  <a:spLocks noChangeArrowheads="1"/>
                </p:cNvSpPr>
                <p:nvPr/>
              </p:nvSpPr>
              <p:spPr bwMode="auto">
                <a:xfrm>
                  <a:off x="433" y="1111"/>
                  <a:ext cx="874" cy="868"/>
                </a:xfrm>
                <a:prstGeom prst="rect">
                  <a:avLst/>
                </a:pr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100000">
                      <a:schemeClr val="accent1"/>
                    </a:gs>
                  </a:gsLst>
                  <a:path path="shape">
                    <a:fillToRect l="50000" t="50000" r="50000" b="50000"/>
                  </a:path>
                </a:gra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7" name="Oval 45"/>
                <p:cNvSpPr>
                  <a:spLocks noChangeArrowheads="1"/>
                </p:cNvSpPr>
                <p:nvPr/>
              </p:nvSpPr>
              <p:spPr bwMode="auto">
                <a:xfrm>
                  <a:off x="484" y="1170"/>
                  <a:ext cx="772" cy="750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8" name="Oval 46"/>
                <p:cNvSpPr>
                  <a:spLocks noChangeArrowheads="1"/>
                </p:cNvSpPr>
                <p:nvPr/>
              </p:nvSpPr>
              <p:spPr bwMode="auto">
                <a:xfrm>
                  <a:off x="559" y="1241"/>
                  <a:ext cx="622" cy="608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100000">
                      <a:schemeClr val="accent1"/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9" name="Oval 47"/>
                <p:cNvSpPr>
                  <a:spLocks noChangeArrowheads="1"/>
                </p:cNvSpPr>
                <p:nvPr/>
              </p:nvSpPr>
              <p:spPr bwMode="auto">
                <a:xfrm>
                  <a:off x="624" y="1303"/>
                  <a:ext cx="492" cy="484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</p:grpSp>
          <p:grpSp>
            <p:nvGrpSpPr>
              <p:cNvPr id="38" name="Group 48"/>
              <p:cNvGrpSpPr>
                <a:grpSpLocks/>
              </p:cNvGrpSpPr>
              <p:nvPr/>
            </p:nvGrpSpPr>
            <p:grpSpPr bwMode="auto">
              <a:xfrm>
                <a:off x="634" y="1345"/>
                <a:ext cx="447" cy="402"/>
                <a:chOff x="634" y="1345"/>
                <a:chExt cx="447" cy="402"/>
              </a:xfrm>
            </p:grpSpPr>
            <p:sp>
              <p:nvSpPr>
                <p:cNvPr id="39" name="Arc 49"/>
                <p:cNvSpPr>
                  <a:spLocks/>
                </p:cNvSpPr>
                <p:nvPr/>
              </p:nvSpPr>
              <p:spPr bwMode="auto">
                <a:xfrm>
                  <a:off x="856" y="1409"/>
                  <a:ext cx="34" cy="288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43200"/>
                    <a:gd name="T2" fmla="*/ 0 w 21600"/>
                    <a:gd name="T3" fmla="*/ 43200 h 43200"/>
                    <a:gd name="T4" fmla="*/ 0 w 21600"/>
                    <a:gd name="T5" fmla="*/ 21600 h 43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432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cubicBezTo>
                        <a:pt x="21600" y="33529"/>
                        <a:pt x="11929" y="43199"/>
                        <a:pt x="0" y="43200"/>
                      </a:cubicBezTo>
                    </a:path>
                    <a:path w="21600" h="432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cubicBezTo>
                        <a:pt x="21600" y="33529"/>
                        <a:pt x="11929" y="43199"/>
                        <a:pt x="0" y="432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0" name="Arc 50"/>
                <p:cNvSpPr>
                  <a:spLocks/>
                </p:cNvSpPr>
                <p:nvPr/>
              </p:nvSpPr>
              <p:spPr bwMode="auto">
                <a:xfrm>
                  <a:off x="827" y="1409"/>
                  <a:ext cx="34" cy="288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21600 w 21600"/>
                    <a:gd name="T1" fmla="*/ 43200 h 43200"/>
                    <a:gd name="T2" fmla="*/ 21600 w 21600"/>
                    <a:gd name="T3" fmla="*/ 0 h 43200"/>
                    <a:gd name="T4" fmla="*/ 21600 w 21600"/>
                    <a:gd name="T5" fmla="*/ 21600 h 43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43200" fill="none" extrusionOk="0">
                      <a:moveTo>
                        <a:pt x="21600" y="43200"/>
                      </a:moveTo>
                      <a:cubicBezTo>
                        <a:pt x="9670" y="43200"/>
                        <a:pt x="0" y="33529"/>
                        <a:pt x="0" y="21600"/>
                      </a:cubicBezTo>
                      <a:cubicBezTo>
                        <a:pt x="-1" y="9670"/>
                        <a:pt x="9670" y="0"/>
                        <a:pt x="21599" y="0"/>
                      </a:cubicBezTo>
                    </a:path>
                    <a:path w="21600" h="43200" stroke="0" extrusionOk="0">
                      <a:moveTo>
                        <a:pt x="21600" y="43200"/>
                      </a:moveTo>
                      <a:cubicBezTo>
                        <a:pt x="9670" y="43200"/>
                        <a:pt x="0" y="33529"/>
                        <a:pt x="0" y="21600"/>
                      </a:cubicBezTo>
                      <a:cubicBezTo>
                        <a:pt x="-1" y="9670"/>
                        <a:pt x="9670" y="0"/>
                        <a:pt x="21599" y="0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100000">
                      <a:schemeClr val="accent1"/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1" name="AutoShape 51"/>
                <p:cNvSpPr>
                  <a:spLocks noChangeArrowheads="1"/>
                </p:cNvSpPr>
                <p:nvPr/>
              </p:nvSpPr>
              <p:spPr bwMode="auto">
                <a:xfrm>
                  <a:off x="798" y="1694"/>
                  <a:ext cx="122" cy="53"/>
                </a:xfrm>
                <a:prstGeom prst="roundRect">
                  <a:avLst>
                    <a:gd name="adj" fmla="val 49995"/>
                  </a:avLst>
                </a:pr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2" name="Freeform 52"/>
                <p:cNvSpPr>
                  <a:spLocks/>
                </p:cNvSpPr>
                <p:nvPr/>
              </p:nvSpPr>
              <p:spPr bwMode="auto">
                <a:xfrm>
                  <a:off x="634" y="1467"/>
                  <a:ext cx="221" cy="230"/>
                </a:xfrm>
                <a:custGeom>
                  <a:avLst/>
                  <a:gdLst/>
                  <a:ahLst/>
                  <a:cxnLst>
                    <a:cxn ang="0">
                      <a:pos x="212" y="204"/>
                    </a:cxn>
                    <a:cxn ang="0">
                      <a:pos x="194" y="158"/>
                    </a:cxn>
                    <a:cxn ang="0">
                      <a:pos x="188" y="111"/>
                    </a:cxn>
                    <a:cxn ang="0">
                      <a:pos x="183" y="72"/>
                    </a:cxn>
                    <a:cxn ang="0">
                      <a:pos x="178" y="52"/>
                    </a:cxn>
                    <a:cxn ang="0">
                      <a:pos x="169" y="37"/>
                    </a:cxn>
                    <a:cxn ang="0">
                      <a:pos x="157" y="24"/>
                    </a:cxn>
                    <a:cxn ang="0">
                      <a:pos x="143" y="13"/>
                    </a:cxn>
                    <a:cxn ang="0">
                      <a:pos x="124" y="5"/>
                    </a:cxn>
                    <a:cxn ang="0">
                      <a:pos x="100" y="0"/>
                    </a:cxn>
                    <a:cxn ang="0">
                      <a:pos x="76" y="0"/>
                    </a:cxn>
                    <a:cxn ang="0">
                      <a:pos x="54" y="7"/>
                    </a:cxn>
                    <a:cxn ang="0">
                      <a:pos x="35" y="16"/>
                    </a:cxn>
                    <a:cxn ang="0">
                      <a:pos x="18" y="31"/>
                    </a:cxn>
                    <a:cxn ang="0">
                      <a:pos x="5" y="51"/>
                    </a:cxn>
                    <a:cxn ang="0">
                      <a:pos x="0" y="73"/>
                    </a:cxn>
                    <a:cxn ang="0">
                      <a:pos x="3" y="72"/>
                    </a:cxn>
                    <a:cxn ang="0">
                      <a:pos x="15" y="64"/>
                    </a:cxn>
                    <a:cxn ang="0">
                      <a:pos x="35" y="58"/>
                    </a:cxn>
                    <a:cxn ang="0">
                      <a:pos x="56" y="57"/>
                    </a:cxn>
                    <a:cxn ang="0">
                      <a:pos x="74" y="63"/>
                    </a:cxn>
                    <a:cxn ang="0">
                      <a:pos x="87" y="73"/>
                    </a:cxn>
                    <a:cxn ang="0">
                      <a:pos x="93" y="85"/>
                    </a:cxn>
                    <a:cxn ang="0">
                      <a:pos x="96" y="102"/>
                    </a:cxn>
                    <a:cxn ang="0">
                      <a:pos x="100" y="124"/>
                    </a:cxn>
                    <a:cxn ang="0">
                      <a:pos x="106" y="147"/>
                    </a:cxn>
                    <a:cxn ang="0">
                      <a:pos x="116" y="168"/>
                    </a:cxn>
                    <a:cxn ang="0">
                      <a:pos x="131" y="190"/>
                    </a:cxn>
                    <a:cxn ang="0">
                      <a:pos x="150" y="207"/>
                    </a:cxn>
                    <a:cxn ang="0">
                      <a:pos x="172" y="219"/>
                    </a:cxn>
                    <a:cxn ang="0">
                      <a:pos x="194" y="226"/>
                    </a:cxn>
                    <a:cxn ang="0">
                      <a:pos x="220" y="229"/>
                    </a:cxn>
                  </a:cxnLst>
                  <a:rect l="0" t="0" r="r" b="b"/>
                  <a:pathLst>
                    <a:path w="221" h="230">
                      <a:moveTo>
                        <a:pt x="220" y="229"/>
                      </a:moveTo>
                      <a:lnTo>
                        <a:pt x="212" y="204"/>
                      </a:lnTo>
                      <a:lnTo>
                        <a:pt x="202" y="180"/>
                      </a:lnTo>
                      <a:lnTo>
                        <a:pt x="194" y="158"/>
                      </a:lnTo>
                      <a:lnTo>
                        <a:pt x="190" y="136"/>
                      </a:lnTo>
                      <a:lnTo>
                        <a:pt x="188" y="111"/>
                      </a:lnTo>
                      <a:lnTo>
                        <a:pt x="185" y="85"/>
                      </a:lnTo>
                      <a:lnTo>
                        <a:pt x="183" y="72"/>
                      </a:lnTo>
                      <a:lnTo>
                        <a:pt x="181" y="61"/>
                      </a:lnTo>
                      <a:lnTo>
                        <a:pt x="178" y="52"/>
                      </a:lnTo>
                      <a:lnTo>
                        <a:pt x="173" y="43"/>
                      </a:lnTo>
                      <a:lnTo>
                        <a:pt x="169" y="37"/>
                      </a:lnTo>
                      <a:lnTo>
                        <a:pt x="164" y="30"/>
                      </a:lnTo>
                      <a:lnTo>
                        <a:pt x="157" y="24"/>
                      </a:lnTo>
                      <a:lnTo>
                        <a:pt x="150" y="18"/>
                      </a:lnTo>
                      <a:lnTo>
                        <a:pt x="143" y="13"/>
                      </a:lnTo>
                      <a:lnTo>
                        <a:pt x="134" y="9"/>
                      </a:lnTo>
                      <a:lnTo>
                        <a:pt x="124" y="5"/>
                      </a:lnTo>
                      <a:lnTo>
                        <a:pt x="112" y="2"/>
                      </a:lnTo>
                      <a:lnTo>
                        <a:pt x="100" y="0"/>
                      </a:lnTo>
                      <a:lnTo>
                        <a:pt x="88" y="0"/>
                      </a:lnTo>
                      <a:lnTo>
                        <a:pt x="76" y="0"/>
                      </a:lnTo>
                      <a:lnTo>
                        <a:pt x="65" y="2"/>
                      </a:lnTo>
                      <a:lnTo>
                        <a:pt x="54" y="7"/>
                      </a:lnTo>
                      <a:lnTo>
                        <a:pt x="45" y="10"/>
                      </a:lnTo>
                      <a:lnTo>
                        <a:pt x="35" y="16"/>
                      </a:lnTo>
                      <a:lnTo>
                        <a:pt x="25" y="24"/>
                      </a:lnTo>
                      <a:lnTo>
                        <a:pt x="18" y="31"/>
                      </a:lnTo>
                      <a:lnTo>
                        <a:pt x="11" y="41"/>
                      </a:lnTo>
                      <a:lnTo>
                        <a:pt x="5" y="51"/>
                      </a:lnTo>
                      <a:lnTo>
                        <a:pt x="1" y="63"/>
                      </a:lnTo>
                      <a:lnTo>
                        <a:pt x="0" y="73"/>
                      </a:lnTo>
                      <a:lnTo>
                        <a:pt x="0" y="79"/>
                      </a:lnTo>
                      <a:lnTo>
                        <a:pt x="3" y="72"/>
                      </a:lnTo>
                      <a:lnTo>
                        <a:pt x="8" y="67"/>
                      </a:lnTo>
                      <a:lnTo>
                        <a:pt x="15" y="64"/>
                      </a:lnTo>
                      <a:lnTo>
                        <a:pt x="25" y="60"/>
                      </a:lnTo>
                      <a:lnTo>
                        <a:pt x="35" y="58"/>
                      </a:lnTo>
                      <a:lnTo>
                        <a:pt x="46" y="57"/>
                      </a:lnTo>
                      <a:lnTo>
                        <a:pt x="56" y="57"/>
                      </a:lnTo>
                      <a:lnTo>
                        <a:pt x="67" y="60"/>
                      </a:lnTo>
                      <a:lnTo>
                        <a:pt x="74" y="63"/>
                      </a:lnTo>
                      <a:lnTo>
                        <a:pt x="81" y="67"/>
                      </a:lnTo>
                      <a:lnTo>
                        <a:pt x="87" y="73"/>
                      </a:lnTo>
                      <a:lnTo>
                        <a:pt x="91" y="78"/>
                      </a:lnTo>
                      <a:lnTo>
                        <a:pt x="93" y="85"/>
                      </a:lnTo>
                      <a:lnTo>
                        <a:pt x="95" y="92"/>
                      </a:lnTo>
                      <a:lnTo>
                        <a:pt x="96" y="102"/>
                      </a:lnTo>
                      <a:lnTo>
                        <a:pt x="98" y="112"/>
                      </a:lnTo>
                      <a:lnTo>
                        <a:pt x="100" y="124"/>
                      </a:lnTo>
                      <a:lnTo>
                        <a:pt x="103" y="135"/>
                      </a:lnTo>
                      <a:lnTo>
                        <a:pt x="106" y="147"/>
                      </a:lnTo>
                      <a:lnTo>
                        <a:pt x="111" y="158"/>
                      </a:lnTo>
                      <a:lnTo>
                        <a:pt x="116" y="168"/>
                      </a:lnTo>
                      <a:lnTo>
                        <a:pt x="123" y="180"/>
                      </a:lnTo>
                      <a:lnTo>
                        <a:pt x="131" y="190"/>
                      </a:lnTo>
                      <a:lnTo>
                        <a:pt x="140" y="199"/>
                      </a:lnTo>
                      <a:lnTo>
                        <a:pt x="150" y="207"/>
                      </a:lnTo>
                      <a:lnTo>
                        <a:pt x="163" y="215"/>
                      </a:lnTo>
                      <a:lnTo>
                        <a:pt x="172" y="219"/>
                      </a:lnTo>
                      <a:lnTo>
                        <a:pt x="183" y="223"/>
                      </a:lnTo>
                      <a:lnTo>
                        <a:pt x="194" y="226"/>
                      </a:lnTo>
                      <a:lnTo>
                        <a:pt x="207" y="228"/>
                      </a:lnTo>
                      <a:lnTo>
                        <a:pt x="220" y="229"/>
                      </a:lnTo>
                    </a:path>
                  </a:pathLst>
                </a:cu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3" name="Freeform 53"/>
                <p:cNvSpPr>
                  <a:spLocks/>
                </p:cNvSpPr>
                <p:nvPr/>
              </p:nvSpPr>
              <p:spPr bwMode="auto">
                <a:xfrm>
                  <a:off x="859" y="1467"/>
                  <a:ext cx="222" cy="230"/>
                </a:xfrm>
                <a:custGeom>
                  <a:avLst/>
                  <a:gdLst/>
                  <a:ahLst/>
                  <a:cxnLst>
                    <a:cxn ang="0">
                      <a:pos x="7" y="204"/>
                    </a:cxn>
                    <a:cxn ang="0">
                      <a:pos x="25" y="158"/>
                    </a:cxn>
                    <a:cxn ang="0">
                      <a:pos x="31" y="111"/>
                    </a:cxn>
                    <a:cxn ang="0">
                      <a:pos x="36" y="72"/>
                    </a:cxn>
                    <a:cxn ang="0">
                      <a:pos x="41" y="52"/>
                    </a:cxn>
                    <a:cxn ang="0">
                      <a:pos x="50" y="37"/>
                    </a:cxn>
                    <a:cxn ang="0">
                      <a:pos x="62" y="24"/>
                    </a:cxn>
                    <a:cxn ang="0">
                      <a:pos x="77" y="13"/>
                    </a:cxn>
                    <a:cxn ang="0">
                      <a:pos x="96" y="5"/>
                    </a:cxn>
                    <a:cxn ang="0">
                      <a:pos x="120" y="0"/>
                    </a:cxn>
                    <a:cxn ang="0">
                      <a:pos x="143" y="0"/>
                    </a:cxn>
                    <a:cxn ang="0">
                      <a:pos x="165" y="7"/>
                    </a:cxn>
                    <a:cxn ang="0">
                      <a:pos x="184" y="16"/>
                    </a:cxn>
                    <a:cxn ang="0">
                      <a:pos x="201" y="31"/>
                    </a:cxn>
                    <a:cxn ang="0">
                      <a:pos x="215" y="51"/>
                    </a:cxn>
                    <a:cxn ang="0">
                      <a:pos x="221" y="73"/>
                    </a:cxn>
                    <a:cxn ang="0">
                      <a:pos x="217" y="72"/>
                    </a:cxn>
                    <a:cxn ang="0">
                      <a:pos x="205" y="64"/>
                    </a:cxn>
                    <a:cxn ang="0">
                      <a:pos x="184" y="58"/>
                    </a:cxn>
                    <a:cxn ang="0">
                      <a:pos x="164" y="57"/>
                    </a:cxn>
                    <a:cxn ang="0">
                      <a:pos x="145" y="63"/>
                    </a:cxn>
                    <a:cxn ang="0">
                      <a:pos x="132" y="73"/>
                    </a:cxn>
                    <a:cxn ang="0">
                      <a:pos x="127" y="85"/>
                    </a:cxn>
                    <a:cxn ang="0">
                      <a:pos x="123" y="102"/>
                    </a:cxn>
                    <a:cxn ang="0">
                      <a:pos x="120" y="124"/>
                    </a:cxn>
                    <a:cxn ang="0">
                      <a:pos x="113" y="147"/>
                    </a:cxn>
                    <a:cxn ang="0">
                      <a:pos x="104" y="168"/>
                    </a:cxn>
                    <a:cxn ang="0">
                      <a:pos x="89" y="190"/>
                    </a:cxn>
                    <a:cxn ang="0">
                      <a:pos x="69" y="207"/>
                    </a:cxn>
                    <a:cxn ang="0">
                      <a:pos x="47" y="219"/>
                    </a:cxn>
                    <a:cxn ang="0">
                      <a:pos x="25" y="226"/>
                    </a:cxn>
                    <a:cxn ang="0">
                      <a:pos x="0" y="229"/>
                    </a:cxn>
                  </a:cxnLst>
                  <a:rect l="0" t="0" r="r" b="b"/>
                  <a:pathLst>
                    <a:path w="222" h="230">
                      <a:moveTo>
                        <a:pt x="0" y="229"/>
                      </a:moveTo>
                      <a:lnTo>
                        <a:pt x="7" y="204"/>
                      </a:lnTo>
                      <a:lnTo>
                        <a:pt x="17" y="180"/>
                      </a:lnTo>
                      <a:lnTo>
                        <a:pt x="25" y="158"/>
                      </a:lnTo>
                      <a:lnTo>
                        <a:pt x="29" y="136"/>
                      </a:lnTo>
                      <a:lnTo>
                        <a:pt x="31" y="111"/>
                      </a:lnTo>
                      <a:lnTo>
                        <a:pt x="34" y="85"/>
                      </a:lnTo>
                      <a:lnTo>
                        <a:pt x="36" y="72"/>
                      </a:lnTo>
                      <a:lnTo>
                        <a:pt x="38" y="61"/>
                      </a:lnTo>
                      <a:lnTo>
                        <a:pt x="41" y="52"/>
                      </a:lnTo>
                      <a:lnTo>
                        <a:pt x="46" y="43"/>
                      </a:lnTo>
                      <a:lnTo>
                        <a:pt x="50" y="37"/>
                      </a:lnTo>
                      <a:lnTo>
                        <a:pt x="56" y="30"/>
                      </a:lnTo>
                      <a:lnTo>
                        <a:pt x="62" y="24"/>
                      </a:lnTo>
                      <a:lnTo>
                        <a:pt x="69" y="18"/>
                      </a:lnTo>
                      <a:lnTo>
                        <a:pt x="77" y="13"/>
                      </a:lnTo>
                      <a:lnTo>
                        <a:pt x="86" y="9"/>
                      </a:lnTo>
                      <a:lnTo>
                        <a:pt x="96" y="5"/>
                      </a:lnTo>
                      <a:lnTo>
                        <a:pt x="108" y="2"/>
                      </a:lnTo>
                      <a:lnTo>
                        <a:pt x="120" y="0"/>
                      </a:lnTo>
                      <a:lnTo>
                        <a:pt x="132" y="0"/>
                      </a:lnTo>
                      <a:lnTo>
                        <a:pt x="143" y="0"/>
                      </a:lnTo>
                      <a:lnTo>
                        <a:pt x="155" y="2"/>
                      </a:lnTo>
                      <a:lnTo>
                        <a:pt x="165" y="7"/>
                      </a:lnTo>
                      <a:lnTo>
                        <a:pt x="175" y="10"/>
                      </a:lnTo>
                      <a:lnTo>
                        <a:pt x="184" y="16"/>
                      </a:lnTo>
                      <a:lnTo>
                        <a:pt x="195" y="24"/>
                      </a:lnTo>
                      <a:lnTo>
                        <a:pt x="201" y="31"/>
                      </a:lnTo>
                      <a:lnTo>
                        <a:pt x="209" y="41"/>
                      </a:lnTo>
                      <a:lnTo>
                        <a:pt x="215" y="51"/>
                      </a:lnTo>
                      <a:lnTo>
                        <a:pt x="219" y="63"/>
                      </a:lnTo>
                      <a:lnTo>
                        <a:pt x="221" y="73"/>
                      </a:lnTo>
                      <a:lnTo>
                        <a:pt x="220" y="79"/>
                      </a:lnTo>
                      <a:lnTo>
                        <a:pt x="217" y="72"/>
                      </a:lnTo>
                      <a:lnTo>
                        <a:pt x="212" y="67"/>
                      </a:lnTo>
                      <a:lnTo>
                        <a:pt x="205" y="64"/>
                      </a:lnTo>
                      <a:lnTo>
                        <a:pt x="195" y="60"/>
                      </a:lnTo>
                      <a:lnTo>
                        <a:pt x="184" y="58"/>
                      </a:lnTo>
                      <a:lnTo>
                        <a:pt x="174" y="57"/>
                      </a:lnTo>
                      <a:lnTo>
                        <a:pt x="164" y="57"/>
                      </a:lnTo>
                      <a:lnTo>
                        <a:pt x="153" y="60"/>
                      </a:lnTo>
                      <a:lnTo>
                        <a:pt x="145" y="63"/>
                      </a:lnTo>
                      <a:lnTo>
                        <a:pt x="139" y="67"/>
                      </a:lnTo>
                      <a:lnTo>
                        <a:pt x="132" y="73"/>
                      </a:lnTo>
                      <a:lnTo>
                        <a:pt x="129" y="78"/>
                      </a:lnTo>
                      <a:lnTo>
                        <a:pt x="127" y="85"/>
                      </a:lnTo>
                      <a:lnTo>
                        <a:pt x="125" y="92"/>
                      </a:lnTo>
                      <a:lnTo>
                        <a:pt x="123" y="102"/>
                      </a:lnTo>
                      <a:lnTo>
                        <a:pt x="122" y="112"/>
                      </a:lnTo>
                      <a:lnTo>
                        <a:pt x="120" y="124"/>
                      </a:lnTo>
                      <a:lnTo>
                        <a:pt x="117" y="135"/>
                      </a:lnTo>
                      <a:lnTo>
                        <a:pt x="113" y="147"/>
                      </a:lnTo>
                      <a:lnTo>
                        <a:pt x="109" y="158"/>
                      </a:lnTo>
                      <a:lnTo>
                        <a:pt x="104" y="168"/>
                      </a:lnTo>
                      <a:lnTo>
                        <a:pt x="97" y="180"/>
                      </a:lnTo>
                      <a:lnTo>
                        <a:pt x="89" y="190"/>
                      </a:lnTo>
                      <a:lnTo>
                        <a:pt x="79" y="199"/>
                      </a:lnTo>
                      <a:lnTo>
                        <a:pt x="69" y="207"/>
                      </a:lnTo>
                      <a:lnTo>
                        <a:pt x="57" y="215"/>
                      </a:lnTo>
                      <a:lnTo>
                        <a:pt x="47" y="219"/>
                      </a:lnTo>
                      <a:lnTo>
                        <a:pt x="37" y="223"/>
                      </a:lnTo>
                      <a:lnTo>
                        <a:pt x="25" y="226"/>
                      </a:lnTo>
                      <a:lnTo>
                        <a:pt x="12" y="228"/>
                      </a:lnTo>
                      <a:lnTo>
                        <a:pt x="0" y="229"/>
                      </a:lnTo>
                    </a:path>
                  </a:pathLst>
                </a:cu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4" name="Oval 54"/>
                <p:cNvSpPr>
                  <a:spLocks noChangeArrowheads="1"/>
                </p:cNvSpPr>
                <p:nvPr/>
              </p:nvSpPr>
              <p:spPr bwMode="auto">
                <a:xfrm>
                  <a:off x="829" y="1345"/>
                  <a:ext cx="56" cy="52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</p:grpSp>
        </p:grpSp>
      </p:grpSp>
      <p:sp>
        <p:nvSpPr>
          <p:cNvPr id="3379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738438" y="1381125"/>
            <a:ext cx="6253162" cy="233362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741613" y="4124325"/>
            <a:ext cx="6249987" cy="1285875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4" name="Rectangle 4"/>
          <p:cNvSpPr>
            <a:spLocks noGrp="1" noChangeArrowheads="1"/>
          </p:cNvSpPr>
          <p:nvPr>
            <p:ph type="dt" sz="quarter" idx="10"/>
          </p:nvPr>
        </p:nvSpPr>
        <p:spPr>
          <a:xfrm>
            <a:off x="2743200" y="5410200"/>
            <a:ext cx="6248400" cy="457200"/>
          </a:xfrm>
        </p:spPr>
        <p:txBody>
          <a:bodyPr wrap="none"/>
          <a:lstStyle>
            <a:lvl1pPr>
              <a:defRPr sz="3200" b="1"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5" name="Rectangle 5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6" name="Rectangle 5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AA016B-F6C1-4A50-8548-E2B80CED5B35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053006"/>
      </p:ext>
    </p:extLst>
  </p:cSld>
  <p:clrMapOvr>
    <a:masterClrMapping/>
  </p:clrMapOvr>
  <p:transition spd="med">
    <p:strips dir="r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8CACC5-6964-4555-AE07-1F5AB8943FB1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155786"/>
      </p:ext>
    </p:extLst>
  </p:cSld>
  <p:clrMapOvr>
    <a:masterClrMapping/>
  </p:clrMapOvr>
  <p:transition spd="med">
    <p:strips dir="r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7D37D6-08AE-4662-88B0-8E258FEEE4B6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087631"/>
      </p:ext>
    </p:extLst>
  </p:cSld>
  <p:clrMapOvr>
    <a:masterClrMapping/>
  </p:clrMapOvr>
  <p:transition spd="med">
    <p:strips dir="r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500188" y="1524000"/>
            <a:ext cx="3668712" cy="4714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21300" y="1524000"/>
            <a:ext cx="3670300" cy="4714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A0A93B-5874-40A1-8B2A-274148CD202E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419188"/>
      </p:ext>
    </p:extLst>
  </p:cSld>
  <p:clrMapOvr>
    <a:masterClrMapping/>
  </p:clrMapOvr>
  <p:transition spd="med">
    <p:strips dir="r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8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9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DA25D7-9B69-468F-806A-26CD2F3F9D00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709487"/>
      </p:ext>
    </p:extLst>
  </p:cSld>
  <p:clrMapOvr>
    <a:masterClrMapping/>
  </p:clrMapOvr>
  <p:transition spd="med">
    <p:strips dir="r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4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2A9CDE-01F1-46F6-8095-70C6E929EAF4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0636762"/>
      </p:ext>
    </p:extLst>
  </p:cSld>
  <p:clrMapOvr>
    <a:masterClrMapping/>
  </p:clrMapOvr>
  <p:transition spd="med">
    <p:strips dir="r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3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78DF99-A7AF-4F23-894A-E16E53358D3E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780195"/>
      </p:ext>
    </p:extLst>
  </p:cSld>
  <p:clrMapOvr>
    <a:masterClrMapping/>
  </p:clrMapOvr>
  <p:transition spd="med">
    <p:strips dir="r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BECA74-9151-43D3-BA7E-86C4F74240F1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042918"/>
      </p:ext>
    </p:extLst>
  </p:cSld>
  <p:clrMapOvr>
    <a:masterClrMapping/>
  </p:clrMapOvr>
  <p:transition spd="med">
    <p:strips dir="r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000797-DA5B-490F-A7E8-A52D0B5C8074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919112"/>
      </p:ext>
    </p:extLst>
  </p:cSld>
  <p:clrMapOvr>
    <a:masterClrMapping/>
  </p:clrMapOvr>
  <p:transition spd="med">
    <p:strips dir="r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F3D31A-6082-4575-BAA9-2A408FFF252E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780641"/>
      </p:ext>
    </p:extLst>
  </p:cSld>
  <p:clrMapOvr>
    <a:masterClrMapping/>
  </p:clrMapOvr>
  <p:transition spd="med">
    <p:strips dir="r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451BC0-A13D-4295-BFE6-1788063F2865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020011"/>
      </p:ext>
    </p:extLst>
  </p:cSld>
  <p:clrMapOvr>
    <a:masterClrMapping/>
  </p:clrMapOvr>
  <p:transition spd="med">
    <p:strips dir="r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19938" y="228600"/>
            <a:ext cx="1871662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500188" y="228600"/>
            <a:ext cx="546735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9BA662-725B-4783-B93A-F7F9627CDA0A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7915998"/>
      </p:ext>
    </p:extLst>
  </p:cSld>
  <p:clrMapOvr>
    <a:masterClrMapping/>
  </p:clrMapOvr>
  <p:transition spd="med">
    <p:strips dir="r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9412748"/>
              </p:ext>
            </p:extLst>
          </p:nvPr>
        </p:nvGraphicFramePr>
        <p:xfrm>
          <a:off x="1193" y="1590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0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4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31" y="3922500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396938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5"/>
          <p:cNvGrpSpPr>
            <a:grpSpLocks/>
          </p:cNvGrpSpPr>
          <p:nvPr/>
        </p:nvGrpSpPr>
        <p:grpSpPr bwMode="auto">
          <a:xfrm>
            <a:off x="0" y="0"/>
            <a:ext cx="1557338" cy="6878638"/>
            <a:chOff x="0" y="-6"/>
            <a:chExt cx="981" cy="4333"/>
          </a:xfrm>
        </p:grpSpPr>
        <p:sp>
          <p:nvSpPr>
            <p:cNvPr id="5" name="Rectangle 6"/>
            <p:cNvSpPr>
              <a:spLocks noChangeArrowheads="1"/>
            </p:cNvSpPr>
            <p:nvPr/>
          </p:nvSpPr>
          <p:spPr bwMode="auto">
            <a:xfrm>
              <a:off x="453" y="2151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6" name="Rectangle 7"/>
            <p:cNvSpPr>
              <a:spLocks noChangeArrowheads="1"/>
            </p:cNvSpPr>
            <p:nvPr/>
          </p:nvSpPr>
          <p:spPr bwMode="auto">
            <a:xfrm>
              <a:off x="0" y="2151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7" name="Rectangle 8"/>
            <p:cNvSpPr>
              <a:spLocks noChangeArrowheads="1"/>
            </p:cNvSpPr>
            <p:nvPr/>
          </p:nvSpPr>
          <p:spPr bwMode="auto">
            <a:xfrm>
              <a:off x="222" y="2151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8" name="Rectangle 9"/>
            <p:cNvSpPr>
              <a:spLocks noChangeArrowheads="1"/>
            </p:cNvSpPr>
            <p:nvPr/>
          </p:nvSpPr>
          <p:spPr bwMode="auto">
            <a:xfrm>
              <a:off x="567" y="2160"/>
              <a:ext cx="204" cy="2161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9" name="Freeform 10"/>
            <p:cNvSpPr>
              <a:spLocks/>
            </p:cNvSpPr>
            <p:nvPr/>
          </p:nvSpPr>
          <p:spPr bwMode="auto">
            <a:xfrm>
              <a:off x="222" y="2636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0" name="Freeform 11"/>
            <p:cNvSpPr>
              <a:spLocks/>
            </p:cNvSpPr>
            <p:nvPr/>
          </p:nvSpPr>
          <p:spPr bwMode="auto">
            <a:xfrm>
              <a:off x="222" y="2908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1" name="Freeform 12"/>
            <p:cNvSpPr>
              <a:spLocks/>
            </p:cNvSpPr>
            <p:nvPr/>
          </p:nvSpPr>
          <p:spPr bwMode="auto">
            <a:xfrm>
              <a:off x="222" y="3165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2" name="Freeform 13"/>
            <p:cNvSpPr>
              <a:spLocks/>
            </p:cNvSpPr>
            <p:nvPr/>
          </p:nvSpPr>
          <p:spPr bwMode="auto">
            <a:xfrm>
              <a:off x="222" y="3420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3" name="Freeform 14"/>
            <p:cNvSpPr>
              <a:spLocks/>
            </p:cNvSpPr>
            <p:nvPr/>
          </p:nvSpPr>
          <p:spPr bwMode="auto">
            <a:xfrm>
              <a:off x="222" y="367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4" name="Freeform 15"/>
            <p:cNvSpPr>
              <a:spLocks/>
            </p:cNvSpPr>
            <p:nvPr/>
          </p:nvSpPr>
          <p:spPr bwMode="auto">
            <a:xfrm>
              <a:off x="301" y="3932"/>
              <a:ext cx="265" cy="392"/>
            </a:xfrm>
            <a:custGeom>
              <a:avLst/>
              <a:gdLst/>
              <a:ahLst/>
              <a:cxnLst>
                <a:cxn ang="0">
                  <a:pos x="264" y="52"/>
                </a:cxn>
                <a:cxn ang="0">
                  <a:pos x="264" y="194"/>
                </a:cxn>
                <a:cxn ang="0">
                  <a:pos x="256" y="188"/>
                </a:cxn>
                <a:cxn ang="0">
                  <a:pos x="236" y="188"/>
                </a:cxn>
                <a:cxn ang="0">
                  <a:pos x="221" y="194"/>
                </a:cxn>
                <a:cxn ang="0">
                  <a:pos x="205" y="209"/>
                </a:cxn>
                <a:cxn ang="0">
                  <a:pos x="162" y="261"/>
                </a:cxn>
                <a:cxn ang="0">
                  <a:pos x="66" y="366"/>
                </a:cxn>
                <a:cxn ang="0">
                  <a:pos x="45" y="391"/>
                </a:cxn>
                <a:cxn ang="0">
                  <a:pos x="0" y="391"/>
                </a:cxn>
                <a:cxn ang="0">
                  <a:pos x="178" y="190"/>
                </a:cxn>
                <a:cxn ang="0">
                  <a:pos x="218" y="138"/>
                </a:cxn>
                <a:cxn ang="0">
                  <a:pos x="233" y="111"/>
                </a:cxn>
                <a:cxn ang="0">
                  <a:pos x="246" y="84"/>
                </a:cxn>
                <a:cxn ang="0">
                  <a:pos x="256" y="39"/>
                </a:cxn>
                <a:cxn ang="0">
                  <a:pos x="264" y="0"/>
                </a:cxn>
                <a:cxn ang="0">
                  <a:pos x="264" y="117"/>
                </a:cxn>
              </a:cxnLst>
              <a:rect l="0" t="0" r="r" b="b"/>
              <a:pathLst>
                <a:path w="265" h="392">
                  <a:moveTo>
                    <a:pt x="264" y="52"/>
                  </a:moveTo>
                  <a:lnTo>
                    <a:pt x="264" y="194"/>
                  </a:lnTo>
                  <a:lnTo>
                    <a:pt x="256" y="188"/>
                  </a:lnTo>
                  <a:lnTo>
                    <a:pt x="236" y="188"/>
                  </a:lnTo>
                  <a:lnTo>
                    <a:pt x="221" y="194"/>
                  </a:lnTo>
                  <a:lnTo>
                    <a:pt x="205" y="209"/>
                  </a:lnTo>
                  <a:lnTo>
                    <a:pt x="162" y="261"/>
                  </a:lnTo>
                  <a:lnTo>
                    <a:pt x="66" y="366"/>
                  </a:lnTo>
                  <a:lnTo>
                    <a:pt x="45" y="391"/>
                  </a:lnTo>
                  <a:lnTo>
                    <a:pt x="0" y="391"/>
                  </a:lnTo>
                  <a:lnTo>
                    <a:pt x="178" y="190"/>
                  </a:lnTo>
                  <a:lnTo>
                    <a:pt x="218" y="138"/>
                  </a:lnTo>
                  <a:lnTo>
                    <a:pt x="233" y="111"/>
                  </a:lnTo>
                  <a:lnTo>
                    <a:pt x="246" y="84"/>
                  </a:lnTo>
                  <a:lnTo>
                    <a:pt x="256" y="39"/>
                  </a:lnTo>
                  <a:lnTo>
                    <a:pt x="264" y="0"/>
                  </a:lnTo>
                  <a:lnTo>
                    <a:pt x="264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5" name="Freeform 16"/>
            <p:cNvSpPr>
              <a:spLocks/>
            </p:cNvSpPr>
            <p:nvPr/>
          </p:nvSpPr>
          <p:spPr bwMode="auto">
            <a:xfrm>
              <a:off x="222" y="2366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6" name="Freeform 17"/>
            <p:cNvSpPr>
              <a:spLocks/>
            </p:cNvSpPr>
            <p:nvPr/>
          </p:nvSpPr>
          <p:spPr bwMode="auto">
            <a:xfrm>
              <a:off x="222" y="2151"/>
              <a:ext cx="346" cy="575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3"/>
                </a:cxn>
                <a:cxn ang="0">
                  <a:pos x="30" y="433"/>
                </a:cxn>
                <a:cxn ang="0">
                  <a:pos x="17" y="463"/>
                </a:cxn>
                <a:cxn ang="0">
                  <a:pos x="10" y="510"/>
                </a:cxn>
                <a:cxn ang="0">
                  <a:pos x="0" y="574"/>
                </a:cxn>
                <a:cxn ang="0">
                  <a:pos x="0" y="293"/>
                </a:cxn>
                <a:cxn ang="0">
                  <a:pos x="5" y="320"/>
                </a:cxn>
                <a:cxn ang="0">
                  <a:pos x="10" y="332"/>
                </a:cxn>
                <a:cxn ang="0">
                  <a:pos x="20" y="338"/>
                </a:cxn>
                <a:cxn ang="0">
                  <a:pos x="30" y="341"/>
                </a:cxn>
                <a:cxn ang="0">
                  <a:pos x="45" y="341"/>
                </a:cxn>
                <a:cxn ang="0">
                  <a:pos x="60" y="335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5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3"/>
                  </a:lnTo>
                  <a:lnTo>
                    <a:pt x="30" y="433"/>
                  </a:lnTo>
                  <a:lnTo>
                    <a:pt x="17" y="463"/>
                  </a:lnTo>
                  <a:lnTo>
                    <a:pt x="10" y="510"/>
                  </a:lnTo>
                  <a:lnTo>
                    <a:pt x="0" y="574"/>
                  </a:lnTo>
                  <a:lnTo>
                    <a:pt x="0" y="293"/>
                  </a:lnTo>
                  <a:lnTo>
                    <a:pt x="5" y="320"/>
                  </a:lnTo>
                  <a:lnTo>
                    <a:pt x="10" y="332"/>
                  </a:lnTo>
                  <a:lnTo>
                    <a:pt x="20" y="338"/>
                  </a:lnTo>
                  <a:lnTo>
                    <a:pt x="30" y="341"/>
                  </a:lnTo>
                  <a:lnTo>
                    <a:pt x="45" y="341"/>
                  </a:lnTo>
                  <a:lnTo>
                    <a:pt x="60" y="335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7" name="Rectangle 18"/>
            <p:cNvSpPr>
              <a:spLocks noChangeArrowheads="1"/>
            </p:cNvSpPr>
            <p:nvPr/>
          </p:nvSpPr>
          <p:spPr bwMode="auto">
            <a:xfrm>
              <a:off x="453" y="-3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8" name="Rectangle 19"/>
            <p:cNvSpPr>
              <a:spLocks noChangeArrowheads="1"/>
            </p:cNvSpPr>
            <p:nvPr/>
          </p:nvSpPr>
          <p:spPr bwMode="auto">
            <a:xfrm>
              <a:off x="0" y="-3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9" name="Rectangle 20"/>
            <p:cNvSpPr>
              <a:spLocks noChangeArrowheads="1"/>
            </p:cNvSpPr>
            <p:nvPr/>
          </p:nvSpPr>
          <p:spPr bwMode="auto">
            <a:xfrm>
              <a:off x="222" y="-3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0" name="Rectangle 21"/>
            <p:cNvSpPr>
              <a:spLocks noChangeArrowheads="1"/>
            </p:cNvSpPr>
            <p:nvPr/>
          </p:nvSpPr>
          <p:spPr bwMode="auto">
            <a:xfrm>
              <a:off x="567" y="-3"/>
              <a:ext cx="204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1" name="Freeform 22"/>
            <p:cNvSpPr>
              <a:spLocks/>
            </p:cNvSpPr>
            <p:nvPr/>
          </p:nvSpPr>
          <p:spPr bwMode="auto">
            <a:xfrm>
              <a:off x="222" y="49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2" name="Freeform 23"/>
            <p:cNvSpPr>
              <a:spLocks/>
            </p:cNvSpPr>
            <p:nvPr/>
          </p:nvSpPr>
          <p:spPr bwMode="auto">
            <a:xfrm>
              <a:off x="222" y="754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3" name="Freeform 24"/>
            <p:cNvSpPr>
              <a:spLocks/>
            </p:cNvSpPr>
            <p:nvPr/>
          </p:nvSpPr>
          <p:spPr bwMode="auto">
            <a:xfrm>
              <a:off x="222" y="1010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4" name="Freeform 25"/>
            <p:cNvSpPr>
              <a:spLocks/>
            </p:cNvSpPr>
            <p:nvPr/>
          </p:nvSpPr>
          <p:spPr bwMode="auto">
            <a:xfrm>
              <a:off x="222" y="126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5" name="Freeform 26"/>
            <p:cNvSpPr>
              <a:spLocks/>
            </p:cNvSpPr>
            <p:nvPr/>
          </p:nvSpPr>
          <p:spPr bwMode="auto">
            <a:xfrm>
              <a:off x="222" y="1522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6" name="Freeform 27"/>
            <p:cNvSpPr>
              <a:spLocks/>
            </p:cNvSpPr>
            <p:nvPr/>
          </p:nvSpPr>
          <p:spPr bwMode="auto">
            <a:xfrm>
              <a:off x="219" y="4178"/>
              <a:ext cx="349" cy="149"/>
            </a:xfrm>
            <a:custGeom>
              <a:avLst/>
              <a:gdLst/>
              <a:ahLst/>
              <a:cxnLst>
                <a:cxn ang="0">
                  <a:pos x="345" y="52"/>
                </a:cxn>
                <a:cxn ang="0">
                  <a:pos x="348" y="144"/>
                </a:cxn>
                <a:cxn ang="0">
                  <a:pos x="0" y="148"/>
                </a:cxn>
                <a:cxn ang="0">
                  <a:pos x="299" y="143"/>
                </a:cxn>
                <a:cxn ang="0">
                  <a:pos x="315" y="111"/>
                </a:cxn>
                <a:cxn ang="0">
                  <a:pos x="328" y="84"/>
                </a:cxn>
                <a:cxn ang="0">
                  <a:pos x="338" y="39"/>
                </a:cxn>
                <a:cxn ang="0">
                  <a:pos x="345" y="0"/>
                </a:cxn>
                <a:cxn ang="0">
                  <a:pos x="345" y="117"/>
                </a:cxn>
              </a:cxnLst>
              <a:rect l="0" t="0" r="r" b="b"/>
              <a:pathLst>
                <a:path w="349" h="149">
                  <a:moveTo>
                    <a:pt x="345" y="52"/>
                  </a:moveTo>
                  <a:lnTo>
                    <a:pt x="348" y="144"/>
                  </a:lnTo>
                  <a:lnTo>
                    <a:pt x="0" y="148"/>
                  </a:lnTo>
                  <a:lnTo>
                    <a:pt x="299" y="143"/>
                  </a:lnTo>
                  <a:lnTo>
                    <a:pt x="315" y="111"/>
                  </a:lnTo>
                  <a:lnTo>
                    <a:pt x="328" y="84"/>
                  </a:lnTo>
                  <a:lnTo>
                    <a:pt x="338" y="39"/>
                  </a:lnTo>
                  <a:lnTo>
                    <a:pt x="345" y="0"/>
                  </a:lnTo>
                  <a:lnTo>
                    <a:pt x="345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7" name="Freeform 28"/>
            <p:cNvSpPr>
              <a:spLocks/>
            </p:cNvSpPr>
            <p:nvPr/>
          </p:nvSpPr>
          <p:spPr bwMode="auto">
            <a:xfrm>
              <a:off x="222" y="211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8" name="Freeform 29"/>
            <p:cNvSpPr>
              <a:spLocks/>
            </p:cNvSpPr>
            <p:nvPr/>
          </p:nvSpPr>
          <p:spPr bwMode="auto">
            <a:xfrm>
              <a:off x="222" y="-3"/>
              <a:ext cx="346" cy="574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2"/>
                </a:cxn>
                <a:cxn ang="0">
                  <a:pos x="30" y="432"/>
                </a:cxn>
                <a:cxn ang="0">
                  <a:pos x="17" y="462"/>
                </a:cxn>
                <a:cxn ang="0">
                  <a:pos x="10" y="509"/>
                </a:cxn>
                <a:cxn ang="0">
                  <a:pos x="0" y="573"/>
                </a:cxn>
                <a:cxn ang="0">
                  <a:pos x="0" y="292"/>
                </a:cxn>
                <a:cxn ang="0">
                  <a:pos x="5" y="319"/>
                </a:cxn>
                <a:cxn ang="0">
                  <a:pos x="10" y="331"/>
                </a:cxn>
                <a:cxn ang="0">
                  <a:pos x="20" y="337"/>
                </a:cxn>
                <a:cxn ang="0">
                  <a:pos x="30" y="340"/>
                </a:cxn>
                <a:cxn ang="0">
                  <a:pos x="45" y="340"/>
                </a:cxn>
                <a:cxn ang="0">
                  <a:pos x="60" y="334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4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2"/>
                  </a:lnTo>
                  <a:lnTo>
                    <a:pt x="30" y="432"/>
                  </a:lnTo>
                  <a:lnTo>
                    <a:pt x="17" y="462"/>
                  </a:lnTo>
                  <a:lnTo>
                    <a:pt x="10" y="509"/>
                  </a:lnTo>
                  <a:lnTo>
                    <a:pt x="0" y="573"/>
                  </a:lnTo>
                  <a:lnTo>
                    <a:pt x="0" y="292"/>
                  </a:lnTo>
                  <a:lnTo>
                    <a:pt x="5" y="319"/>
                  </a:lnTo>
                  <a:lnTo>
                    <a:pt x="10" y="331"/>
                  </a:lnTo>
                  <a:lnTo>
                    <a:pt x="20" y="337"/>
                  </a:lnTo>
                  <a:lnTo>
                    <a:pt x="30" y="340"/>
                  </a:lnTo>
                  <a:lnTo>
                    <a:pt x="45" y="340"/>
                  </a:lnTo>
                  <a:lnTo>
                    <a:pt x="60" y="334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29" name="Freeform 30"/>
            <p:cNvSpPr>
              <a:spLocks/>
            </p:cNvSpPr>
            <p:nvPr/>
          </p:nvSpPr>
          <p:spPr bwMode="auto">
            <a:xfrm>
              <a:off x="224" y="-6"/>
              <a:ext cx="154" cy="294"/>
            </a:xfrm>
            <a:custGeom>
              <a:avLst/>
              <a:gdLst/>
              <a:ahLst/>
              <a:cxnLst>
                <a:cxn ang="0">
                  <a:pos x="153" y="3"/>
                </a:cxn>
                <a:cxn ang="0">
                  <a:pos x="50" y="122"/>
                </a:cxn>
                <a:cxn ang="0">
                  <a:pos x="30" y="152"/>
                </a:cxn>
                <a:cxn ang="0">
                  <a:pos x="17" y="182"/>
                </a:cxn>
                <a:cxn ang="0">
                  <a:pos x="10" y="229"/>
                </a:cxn>
                <a:cxn ang="0">
                  <a:pos x="0" y="293"/>
                </a:cxn>
                <a:cxn ang="0">
                  <a:pos x="0" y="12"/>
                </a:cxn>
                <a:cxn ang="0">
                  <a:pos x="5" y="39"/>
                </a:cxn>
                <a:cxn ang="0">
                  <a:pos x="10" y="51"/>
                </a:cxn>
                <a:cxn ang="0">
                  <a:pos x="20" y="57"/>
                </a:cxn>
                <a:cxn ang="0">
                  <a:pos x="30" y="60"/>
                </a:cxn>
                <a:cxn ang="0">
                  <a:pos x="45" y="60"/>
                </a:cxn>
                <a:cxn ang="0">
                  <a:pos x="60" y="54"/>
                </a:cxn>
                <a:cxn ang="0">
                  <a:pos x="110" y="0"/>
                </a:cxn>
              </a:cxnLst>
              <a:rect l="0" t="0" r="r" b="b"/>
              <a:pathLst>
                <a:path w="154" h="294">
                  <a:moveTo>
                    <a:pt x="153" y="3"/>
                  </a:moveTo>
                  <a:lnTo>
                    <a:pt x="50" y="122"/>
                  </a:lnTo>
                  <a:lnTo>
                    <a:pt x="30" y="152"/>
                  </a:lnTo>
                  <a:lnTo>
                    <a:pt x="17" y="182"/>
                  </a:lnTo>
                  <a:lnTo>
                    <a:pt x="10" y="229"/>
                  </a:lnTo>
                  <a:lnTo>
                    <a:pt x="0" y="293"/>
                  </a:lnTo>
                  <a:lnTo>
                    <a:pt x="0" y="12"/>
                  </a:lnTo>
                  <a:lnTo>
                    <a:pt x="5" y="39"/>
                  </a:lnTo>
                  <a:lnTo>
                    <a:pt x="10" y="51"/>
                  </a:lnTo>
                  <a:lnTo>
                    <a:pt x="20" y="57"/>
                  </a:lnTo>
                  <a:lnTo>
                    <a:pt x="30" y="60"/>
                  </a:lnTo>
                  <a:lnTo>
                    <a:pt x="45" y="60"/>
                  </a:lnTo>
                  <a:lnTo>
                    <a:pt x="60" y="54"/>
                  </a:lnTo>
                  <a:lnTo>
                    <a:pt x="110" y="0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0" name="Freeform 31"/>
            <p:cNvSpPr>
              <a:spLocks/>
            </p:cNvSpPr>
            <p:nvPr/>
          </p:nvSpPr>
          <p:spPr bwMode="auto">
            <a:xfrm>
              <a:off x="222" y="179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1" name="Rectangle 32"/>
            <p:cNvSpPr>
              <a:spLocks noChangeArrowheads="1"/>
            </p:cNvSpPr>
            <p:nvPr/>
          </p:nvSpPr>
          <p:spPr bwMode="auto">
            <a:xfrm>
              <a:off x="771" y="0"/>
              <a:ext cx="210" cy="4319"/>
            </a:xfrm>
            <a:prstGeom prst="rect">
              <a:avLst/>
            </a:pr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" name="Line 33"/>
            <p:cNvSpPr>
              <a:spLocks noChangeShapeType="1"/>
            </p:cNvSpPr>
            <p:nvPr/>
          </p:nvSpPr>
          <p:spPr bwMode="auto">
            <a:xfrm>
              <a:off x="13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3" name="Line 34"/>
            <p:cNvSpPr>
              <a:spLocks noChangeShapeType="1"/>
            </p:cNvSpPr>
            <p:nvPr/>
          </p:nvSpPr>
          <p:spPr bwMode="auto">
            <a:xfrm>
              <a:off x="64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</p:grpSp>
      <p:grpSp>
        <p:nvGrpSpPr>
          <p:cNvPr id="34" name="Group 35"/>
          <p:cNvGrpSpPr>
            <a:grpSpLocks/>
          </p:cNvGrpSpPr>
          <p:nvPr/>
        </p:nvGrpSpPr>
        <p:grpSpPr bwMode="auto">
          <a:xfrm>
            <a:off x="523875" y="1428750"/>
            <a:ext cx="2095500" cy="2095500"/>
            <a:chOff x="330" y="900"/>
            <a:chExt cx="1320" cy="1320"/>
          </a:xfrm>
        </p:grpSpPr>
        <p:sp>
          <p:nvSpPr>
            <p:cNvPr id="35" name="Rectangle 36"/>
            <p:cNvSpPr>
              <a:spLocks noChangeArrowheads="1"/>
            </p:cNvSpPr>
            <p:nvPr/>
          </p:nvSpPr>
          <p:spPr bwMode="auto">
            <a:xfrm>
              <a:off x="975" y="900"/>
              <a:ext cx="675" cy="1320"/>
            </a:xfrm>
            <a:prstGeom prst="rect">
              <a:avLst/>
            </a:pr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path path="shape">
                <a:fillToRect l="50000" t="50000" r="50000" b="50000"/>
              </a:path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grpSp>
          <p:nvGrpSpPr>
            <p:cNvPr id="36" name="Group 37"/>
            <p:cNvGrpSpPr>
              <a:grpSpLocks/>
            </p:cNvGrpSpPr>
            <p:nvPr/>
          </p:nvGrpSpPr>
          <p:grpSpPr bwMode="auto">
            <a:xfrm>
              <a:off x="330" y="1015"/>
              <a:ext cx="1079" cy="1060"/>
              <a:chOff x="330" y="1015"/>
              <a:chExt cx="1079" cy="1060"/>
            </a:xfrm>
          </p:grpSpPr>
          <p:grpSp>
            <p:nvGrpSpPr>
              <p:cNvPr id="37" name="Group 38"/>
              <p:cNvGrpSpPr>
                <a:grpSpLocks/>
              </p:cNvGrpSpPr>
              <p:nvPr/>
            </p:nvGrpSpPr>
            <p:grpSpPr bwMode="auto">
              <a:xfrm>
                <a:off x="330" y="1015"/>
                <a:ext cx="1079" cy="1060"/>
                <a:chOff x="330" y="1015"/>
                <a:chExt cx="1079" cy="1060"/>
              </a:xfrm>
            </p:grpSpPr>
            <p:grpSp>
              <p:nvGrpSpPr>
                <p:cNvPr id="45" name="Group 39"/>
                <p:cNvGrpSpPr>
                  <a:grpSpLocks/>
                </p:cNvGrpSpPr>
                <p:nvPr/>
              </p:nvGrpSpPr>
              <p:grpSpPr bwMode="auto">
                <a:xfrm>
                  <a:off x="330" y="1015"/>
                  <a:ext cx="1079" cy="1060"/>
                  <a:chOff x="330" y="1015"/>
                  <a:chExt cx="1079" cy="1060"/>
                </a:xfrm>
              </p:grpSpPr>
              <p:sp>
                <p:nvSpPr>
                  <p:cNvPr id="50" name="Rectangle 40"/>
                  <p:cNvSpPr>
                    <a:spLocks noChangeArrowheads="1"/>
                  </p:cNvSpPr>
                  <p:nvPr/>
                </p:nvSpPr>
                <p:spPr bwMode="auto">
                  <a:xfrm>
                    <a:off x="333" y="1910"/>
                    <a:ext cx="1074" cy="165"/>
                  </a:xfrm>
                  <a:prstGeom prst="rect">
                    <a:avLst/>
                  </a:prstGeom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accent1">
                          <a:gamma/>
                          <a:shade val="46275"/>
                          <a:invGamma/>
                        </a:schemeClr>
                      </a:gs>
                    </a:gsLst>
                    <a:lin ang="540000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  <p:sp>
                <p:nvSpPr>
                  <p:cNvPr id="51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333" y="1015"/>
                    <a:ext cx="1074" cy="165"/>
                  </a:xfrm>
                  <a:prstGeom prst="rect">
                    <a:avLst/>
                  </a:prstGeom>
                  <a:gradFill rotWithShape="0">
                    <a:gsLst>
                      <a:gs pos="0">
                        <a:schemeClr val="accent1">
                          <a:gamma/>
                          <a:shade val="46275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540000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  <p:sp>
                <p:nvSpPr>
                  <p:cNvPr id="52" name="AutoShape 42"/>
                  <p:cNvSpPr>
                    <a:spLocks noChangeArrowheads="1"/>
                  </p:cNvSpPr>
                  <p:nvPr/>
                </p:nvSpPr>
                <p:spPr bwMode="auto">
                  <a:xfrm rot="5400000" flipV="1">
                    <a:off x="-91" y="1446"/>
                    <a:ext cx="1028" cy="186"/>
                  </a:xfrm>
                  <a:custGeom>
                    <a:avLst/>
                    <a:gdLst>
                      <a:gd name="G0" fmla="+- 2645 0 0"/>
                      <a:gd name="G1" fmla="+- 21600 0 2645"/>
                      <a:gd name="G2" fmla="*/ 2645 1 2"/>
                      <a:gd name="G3" fmla="+- 21600 0 G2"/>
                      <a:gd name="G4" fmla="+/ 2645 21600 2"/>
                      <a:gd name="G5" fmla="+/ G1 0 2"/>
                      <a:gd name="G6" fmla="*/ 21600 21600 2645"/>
                      <a:gd name="G7" fmla="*/ G6 1 2"/>
                      <a:gd name="G8" fmla="+- 21600 0 G7"/>
                      <a:gd name="G9" fmla="*/ 21600 1 2"/>
                      <a:gd name="G10" fmla="+- 2645 0 G9"/>
                      <a:gd name="G11" fmla="?: G10 G8 0"/>
                      <a:gd name="G12" fmla="?: G10 G7 21600"/>
                      <a:gd name="T0" fmla="*/ 20277 w 21600"/>
                      <a:gd name="T1" fmla="*/ 10800 h 21600"/>
                      <a:gd name="T2" fmla="*/ 10800 w 21600"/>
                      <a:gd name="T3" fmla="*/ 21600 h 21600"/>
                      <a:gd name="T4" fmla="*/ 1323 w 21600"/>
                      <a:gd name="T5" fmla="*/ 10800 h 21600"/>
                      <a:gd name="T6" fmla="*/ 10800 w 21600"/>
                      <a:gd name="T7" fmla="*/ 0 h 21600"/>
                      <a:gd name="T8" fmla="*/ 3123 w 21600"/>
                      <a:gd name="T9" fmla="*/ 3123 h 21600"/>
                      <a:gd name="T10" fmla="*/ 18477 w 21600"/>
                      <a:gd name="T11" fmla="*/ 1847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645" y="21600"/>
                        </a:lnTo>
                        <a:lnTo>
                          <a:pt x="1895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chemeClr val="accent1">
                          <a:gamma/>
                          <a:shade val="46275"/>
                          <a:invGamma/>
                        </a:schemeClr>
                      </a:gs>
                      <a:gs pos="100000">
                        <a:schemeClr val="accent1"/>
                      </a:gs>
                    </a:gsLst>
                    <a:lin ang="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  <p:sp>
                <p:nvSpPr>
                  <p:cNvPr id="53" name="AutoShape 43"/>
                  <p:cNvSpPr>
                    <a:spLocks noChangeArrowheads="1"/>
                  </p:cNvSpPr>
                  <p:nvPr/>
                </p:nvSpPr>
                <p:spPr bwMode="auto">
                  <a:xfrm rot="-5400000" flipH="1" flipV="1">
                    <a:off x="802" y="1436"/>
                    <a:ext cx="1028" cy="186"/>
                  </a:xfrm>
                  <a:custGeom>
                    <a:avLst/>
                    <a:gdLst>
                      <a:gd name="G0" fmla="+- 2645 0 0"/>
                      <a:gd name="G1" fmla="+- 21600 0 2645"/>
                      <a:gd name="G2" fmla="*/ 2645 1 2"/>
                      <a:gd name="G3" fmla="+- 21600 0 G2"/>
                      <a:gd name="G4" fmla="+/ 2645 21600 2"/>
                      <a:gd name="G5" fmla="+/ G1 0 2"/>
                      <a:gd name="G6" fmla="*/ 21600 21600 2645"/>
                      <a:gd name="G7" fmla="*/ G6 1 2"/>
                      <a:gd name="G8" fmla="+- 21600 0 G7"/>
                      <a:gd name="G9" fmla="*/ 21600 1 2"/>
                      <a:gd name="G10" fmla="+- 2645 0 G9"/>
                      <a:gd name="G11" fmla="?: G10 G8 0"/>
                      <a:gd name="G12" fmla="?: G10 G7 21600"/>
                      <a:gd name="T0" fmla="*/ 20277 w 21600"/>
                      <a:gd name="T1" fmla="*/ 10800 h 21600"/>
                      <a:gd name="T2" fmla="*/ 10800 w 21600"/>
                      <a:gd name="T3" fmla="*/ 21600 h 21600"/>
                      <a:gd name="T4" fmla="*/ 1323 w 21600"/>
                      <a:gd name="T5" fmla="*/ 10800 h 21600"/>
                      <a:gd name="T6" fmla="*/ 10800 w 21600"/>
                      <a:gd name="T7" fmla="*/ 0 h 21600"/>
                      <a:gd name="T8" fmla="*/ 3123 w 21600"/>
                      <a:gd name="T9" fmla="*/ 3123 h 21600"/>
                      <a:gd name="T10" fmla="*/ 18477 w 21600"/>
                      <a:gd name="T11" fmla="*/ 1847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645" y="21600"/>
                        </a:lnTo>
                        <a:lnTo>
                          <a:pt x="18955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0">
                    <a:gsLst>
                      <a:gs pos="0">
                        <a:schemeClr val="accent1"/>
                      </a:gs>
                      <a:gs pos="100000">
                        <a:schemeClr val="accent1">
                          <a:gamma/>
                          <a:shade val="46275"/>
                          <a:invGamma/>
                        </a:schemeClr>
                      </a:gs>
                    </a:gsLst>
                    <a:lin ang="0" scaled="1"/>
                  </a:gradFill>
                  <a:ln w="9525">
                    <a:noFill/>
                    <a:miter lim="800000"/>
                    <a:headEnd/>
                    <a:tailEnd/>
                  </a:ln>
                  <a:effectLst/>
                </p:spPr>
                <p:txBody>
                  <a:bodyPr/>
                  <a:lstStyle/>
                  <a:p>
                    <a:pPr fontAlgn="base">
                      <a:spcBef>
                        <a:spcPct val="0"/>
                      </a:spcBef>
                      <a:spcAft>
                        <a:spcPct val="0"/>
                      </a:spcAft>
                      <a:defRPr/>
                    </a:pPr>
                    <a:endParaRPr kumimoji="1" lang="ru-RU" sz="2400">
                      <a:solidFill>
                        <a:srgbClr val="333300"/>
                      </a:solidFill>
                      <a:latin typeface="Times New Roman" pitchFamily="18" charset="0"/>
                      <a:cs typeface="Arial" charset="0"/>
                    </a:endParaRPr>
                  </a:p>
                </p:txBody>
              </p:sp>
            </p:grpSp>
            <p:sp>
              <p:nvSpPr>
                <p:cNvPr id="46" name="Rectangle 44"/>
                <p:cNvSpPr>
                  <a:spLocks noChangeArrowheads="1"/>
                </p:cNvSpPr>
                <p:nvPr/>
              </p:nvSpPr>
              <p:spPr bwMode="auto">
                <a:xfrm>
                  <a:off x="433" y="1111"/>
                  <a:ext cx="874" cy="868"/>
                </a:xfrm>
                <a:prstGeom prst="rect">
                  <a:avLst/>
                </a:pr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100000">
                      <a:schemeClr val="accent1"/>
                    </a:gs>
                  </a:gsLst>
                  <a:path path="shape">
                    <a:fillToRect l="50000" t="50000" r="50000" b="50000"/>
                  </a:path>
                </a:gradFill>
                <a:ln w="9525">
                  <a:noFill/>
                  <a:miter lim="800000"/>
                  <a:headEnd/>
                  <a:tailEnd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7" name="Oval 45"/>
                <p:cNvSpPr>
                  <a:spLocks noChangeArrowheads="1"/>
                </p:cNvSpPr>
                <p:nvPr/>
              </p:nvSpPr>
              <p:spPr bwMode="auto">
                <a:xfrm>
                  <a:off x="484" y="1170"/>
                  <a:ext cx="772" cy="750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8" name="Oval 46"/>
                <p:cNvSpPr>
                  <a:spLocks noChangeArrowheads="1"/>
                </p:cNvSpPr>
                <p:nvPr/>
              </p:nvSpPr>
              <p:spPr bwMode="auto">
                <a:xfrm>
                  <a:off x="559" y="1241"/>
                  <a:ext cx="622" cy="608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100000">
                      <a:schemeClr val="accent1"/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9" name="Oval 47"/>
                <p:cNvSpPr>
                  <a:spLocks noChangeArrowheads="1"/>
                </p:cNvSpPr>
                <p:nvPr/>
              </p:nvSpPr>
              <p:spPr bwMode="auto">
                <a:xfrm>
                  <a:off x="624" y="1303"/>
                  <a:ext cx="492" cy="484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</p:grpSp>
          <p:grpSp>
            <p:nvGrpSpPr>
              <p:cNvPr id="38" name="Group 48"/>
              <p:cNvGrpSpPr>
                <a:grpSpLocks/>
              </p:cNvGrpSpPr>
              <p:nvPr/>
            </p:nvGrpSpPr>
            <p:grpSpPr bwMode="auto">
              <a:xfrm>
                <a:off x="634" y="1345"/>
                <a:ext cx="447" cy="402"/>
                <a:chOff x="634" y="1345"/>
                <a:chExt cx="447" cy="402"/>
              </a:xfrm>
            </p:grpSpPr>
            <p:sp>
              <p:nvSpPr>
                <p:cNvPr id="39" name="Arc 49"/>
                <p:cNvSpPr>
                  <a:spLocks/>
                </p:cNvSpPr>
                <p:nvPr/>
              </p:nvSpPr>
              <p:spPr bwMode="auto">
                <a:xfrm>
                  <a:off x="856" y="1409"/>
                  <a:ext cx="34" cy="288"/>
                </a:xfrm>
                <a:custGeom>
                  <a:avLst/>
                  <a:gdLst>
                    <a:gd name="G0" fmla="+- 0 0 0"/>
                    <a:gd name="G1" fmla="+- 21600 0 0"/>
                    <a:gd name="G2" fmla="+- 21600 0 0"/>
                    <a:gd name="T0" fmla="*/ 0 w 21600"/>
                    <a:gd name="T1" fmla="*/ 0 h 43200"/>
                    <a:gd name="T2" fmla="*/ 0 w 21600"/>
                    <a:gd name="T3" fmla="*/ 43200 h 43200"/>
                    <a:gd name="T4" fmla="*/ 0 w 21600"/>
                    <a:gd name="T5" fmla="*/ 21600 h 43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43200" fill="none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cubicBezTo>
                        <a:pt x="21600" y="33529"/>
                        <a:pt x="11929" y="43199"/>
                        <a:pt x="0" y="43200"/>
                      </a:cubicBezTo>
                    </a:path>
                    <a:path w="21600" h="43200" stroke="0" extrusionOk="0">
                      <a:moveTo>
                        <a:pt x="-1" y="0"/>
                      </a:moveTo>
                      <a:cubicBezTo>
                        <a:pt x="11929" y="0"/>
                        <a:pt x="21600" y="9670"/>
                        <a:pt x="21600" y="21600"/>
                      </a:cubicBezTo>
                      <a:cubicBezTo>
                        <a:pt x="21600" y="33529"/>
                        <a:pt x="11929" y="43199"/>
                        <a:pt x="0" y="43200"/>
                      </a:cubicBezTo>
                      <a:lnTo>
                        <a:pt x="0" y="21600"/>
                      </a:lnTo>
                      <a:close/>
                    </a:path>
                  </a:pathLst>
                </a:cu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0" name="Arc 50"/>
                <p:cNvSpPr>
                  <a:spLocks/>
                </p:cNvSpPr>
                <p:nvPr/>
              </p:nvSpPr>
              <p:spPr bwMode="auto">
                <a:xfrm>
                  <a:off x="827" y="1409"/>
                  <a:ext cx="34" cy="288"/>
                </a:xfrm>
                <a:custGeom>
                  <a:avLst/>
                  <a:gdLst>
                    <a:gd name="G0" fmla="+- 21600 0 0"/>
                    <a:gd name="G1" fmla="+- 21600 0 0"/>
                    <a:gd name="G2" fmla="+- 21600 0 0"/>
                    <a:gd name="T0" fmla="*/ 21600 w 21600"/>
                    <a:gd name="T1" fmla="*/ 43200 h 43200"/>
                    <a:gd name="T2" fmla="*/ 21600 w 21600"/>
                    <a:gd name="T3" fmla="*/ 0 h 43200"/>
                    <a:gd name="T4" fmla="*/ 21600 w 21600"/>
                    <a:gd name="T5" fmla="*/ 21600 h 432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1600" h="43200" fill="none" extrusionOk="0">
                      <a:moveTo>
                        <a:pt x="21600" y="43200"/>
                      </a:moveTo>
                      <a:cubicBezTo>
                        <a:pt x="9670" y="43200"/>
                        <a:pt x="0" y="33529"/>
                        <a:pt x="0" y="21600"/>
                      </a:cubicBezTo>
                      <a:cubicBezTo>
                        <a:pt x="-1" y="9670"/>
                        <a:pt x="9670" y="0"/>
                        <a:pt x="21599" y="0"/>
                      </a:cubicBezTo>
                    </a:path>
                    <a:path w="21600" h="43200" stroke="0" extrusionOk="0">
                      <a:moveTo>
                        <a:pt x="21600" y="43200"/>
                      </a:moveTo>
                      <a:cubicBezTo>
                        <a:pt x="9670" y="43200"/>
                        <a:pt x="0" y="33529"/>
                        <a:pt x="0" y="21600"/>
                      </a:cubicBezTo>
                      <a:cubicBezTo>
                        <a:pt x="-1" y="9670"/>
                        <a:pt x="9670" y="0"/>
                        <a:pt x="21599" y="0"/>
                      </a:cubicBezTo>
                      <a:lnTo>
                        <a:pt x="21600" y="21600"/>
                      </a:lnTo>
                      <a:close/>
                    </a:path>
                  </a:pathLst>
                </a:cu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100000">
                      <a:schemeClr val="accent1"/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1" name="AutoShape 51"/>
                <p:cNvSpPr>
                  <a:spLocks noChangeArrowheads="1"/>
                </p:cNvSpPr>
                <p:nvPr/>
              </p:nvSpPr>
              <p:spPr bwMode="auto">
                <a:xfrm>
                  <a:off x="798" y="1694"/>
                  <a:ext cx="122" cy="53"/>
                </a:xfrm>
                <a:prstGeom prst="roundRect">
                  <a:avLst>
                    <a:gd name="adj" fmla="val 49995"/>
                  </a:avLst>
                </a:prstGeom>
                <a:gradFill rotWithShape="0">
                  <a:gsLst>
                    <a:gs pos="0">
                      <a:schemeClr val="accent1">
                        <a:gamma/>
                        <a:shade val="46275"/>
                        <a:invGamma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2" name="Freeform 52"/>
                <p:cNvSpPr>
                  <a:spLocks/>
                </p:cNvSpPr>
                <p:nvPr/>
              </p:nvSpPr>
              <p:spPr bwMode="auto">
                <a:xfrm>
                  <a:off x="634" y="1467"/>
                  <a:ext cx="221" cy="230"/>
                </a:xfrm>
                <a:custGeom>
                  <a:avLst/>
                  <a:gdLst/>
                  <a:ahLst/>
                  <a:cxnLst>
                    <a:cxn ang="0">
                      <a:pos x="212" y="204"/>
                    </a:cxn>
                    <a:cxn ang="0">
                      <a:pos x="194" y="158"/>
                    </a:cxn>
                    <a:cxn ang="0">
                      <a:pos x="188" y="111"/>
                    </a:cxn>
                    <a:cxn ang="0">
                      <a:pos x="183" y="72"/>
                    </a:cxn>
                    <a:cxn ang="0">
                      <a:pos x="178" y="52"/>
                    </a:cxn>
                    <a:cxn ang="0">
                      <a:pos x="169" y="37"/>
                    </a:cxn>
                    <a:cxn ang="0">
                      <a:pos x="157" y="24"/>
                    </a:cxn>
                    <a:cxn ang="0">
                      <a:pos x="143" y="13"/>
                    </a:cxn>
                    <a:cxn ang="0">
                      <a:pos x="124" y="5"/>
                    </a:cxn>
                    <a:cxn ang="0">
                      <a:pos x="100" y="0"/>
                    </a:cxn>
                    <a:cxn ang="0">
                      <a:pos x="76" y="0"/>
                    </a:cxn>
                    <a:cxn ang="0">
                      <a:pos x="54" y="7"/>
                    </a:cxn>
                    <a:cxn ang="0">
                      <a:pos x="35" y="16"/>
                    </a:cxn>
                    <a:cxn ang="0">
                      <a:pos x="18" y="31"/>
                    </a:cxn>
                    <a:cxn ang="0">
                      <a:pos x="5" y="51"/>
                    </a:cxn>
                    <a:cxn ang="0">
                      <a:pos x="0" y="73"/>
                    </a:cxn>
                    <a:cxn ang="0">
                      <a:pos x="3" y="72"/>
                    </a:cxn>
                    <a:cxn ang="0">
                      <a:pos x="15" y="64"/>
                    </a:cxn>
                    <a:cxn ang="0">
                      <a:pos x="35" y="58"/>
                    </a:cxn>
                    <a:cxn ang="0">
                      <a:pos x="56" y="57"/>
                    </a:cxn>
                    <a:cxn ang="0">
                      <a:pos x="74" y="63"/>
                    </a:cxn>
                    <a:cxn ang="0">
                      <a:pos x="87" y="73"/>
                    </a:cxn>
                    <a:cxn ang="0">
                      <a:pos x="93" y="85"/>
                    </a:cxn>
                    <a:cxn ang="0">
                      <a:pos x="96" y="102"/>
                    </a:cxn>
                    <a:cxn ang="0">
                      <a:pos x="100" y="124"/>
                    </a:cxn>
                    <a:cxn ang="0">
                      <a:pos x="106" y="147"/>
                    </a:cxn>
                    <a:cxn ang="0">
                      <a:pos x="116" y="168"/>
                    </a:cxn>
                    <a:cxn ang="0">
                      <a:pos x="131" y="190"/>
                    </a:cxn>
                    <a:cxn ang="0">
                      <a:pos x="150" y="207"/>
                    </a:cxn>
                    <a:cxn ang="0">
                      <a:pos x="172" y="219"/>
                    </a:cxn>
                    <a:cxn ang="0">
                      <a:pos x="194" y="226"/>
                    </a:cxn>
                    <a:cxn ang="0">
                      <a:pos x="220" y="229"/>
                    </a:cxn>
                  </a:cxnLst>
                  <a:rect l="0" t="0" r="r" b="b"/>
                  <a:pathLst>
                    <a:path w="221" h="230">
                      <a:moveTo>
                        <a:pt x="220" y="229"/>
                      </a:moveTo>
                      <a:lnTo>
                        <a:pt x="212" y="204"/>
                      </a:lnTo>
                      <a:lnTo>
                        <a:pt x="202" y="180"/>
                      </a:lnTo>
                      <a:lnTo>
                        <a:pt x="194" y="158"/>
                      </a:lnTo>
                      <a:lnTo>
                        <a:pt x="190" y="136"/>
                      </a:lnTo>
                      <a:lnTo>
                        <a:pt x="188" y="111"/>
                      </a:lnTo>
                      <a:lnTo>
                        <a:pt x="185" y="85"/>
                      </a:lnTo>
                      <a:lnTo>
                        <a:pt x="183" y="72"/>
                      </a:lnTo>
                      <a:lnTo>
                        <a:pt x="181" y="61"/>
                      </a:lnTo>
                      <a:lnTo>
                        <a:pt x="178" y="52"/>
                      </a:lnTo>
                      <a:lnTo>
                        <a:pt x="173" y="43"/>
                      </a:lnTo>
                      <a:lnTo>
                        <a:pt x="169" y="37"/>
                      </a:lnTo>
                      <a:lnTo>
                        <a:pt x="164" y="30"/>
                      </a:lnTo>
                      <a:lnTo>
                        <a:pt x="157" y="24"/>
                      </a:lnTo>
                      <a:lnTo>
                        <a:pt x="150" y="18"/>
                      </a:lnTo>
                      <a:lnTo>
                        <a:pt x="143" y="13"/>
                      </a:lnTo>
                      <a:lnTo>
                        <a:pt x="134" y="9"/>
                      </a:lnTo>
                      <a:lnTo>
                        <a:pt x="124" y="5"/>
                      </a:lnTo>
                      <a:lnTo>
                        <a:pt x="112" y="2"/>
                      </a:lnTo>
                      <a:lnTo>
                        <a:pt x="100" y="0"/>
                      </a:lnTo>
                      <a:lnTo>
                        <a:pt x="88" y="0"/>
                      </a:lnTo>
                      <a:lnTo>
                        <a:pt x="76" y="0"/>
                      </a:lnTo>
                      <a:lnTo>
                        <a:pt x="65" y="2"/>
                      </a:lnTo>
                      <a:lnTo>
                        <a:pt x="54" y="7"/>
                      </a:lnTo>
                      <a:lnTo>
                        <a:pt x="45" y="10"/>
                      </a:lnTo>
                      <a:lnTo>
                        <a:pt x="35" y="16"/>
                      </a:lnTo>
                      <a:lnTo>
                        <a:pt x="25" y="24"/>
                      </a:lnTo>
                      <a:lnTo>
                        <a:pt x="18" y="31"/>
                      </a:lnTo>
                      <a:lnTo>
                        <a:pt x="11" y="41"/>
                      </a:lnTo>
                      <a:lnTo>
                        <a:pt x="5" y="51"/>
                      </a:lnTo>
                      <a:lnTo>
                        <a:pt x="1" y="63"/>
                      </a:lnTo>
                      <a:lnTo>
                        <a:pt x="0" y="73"/>
                      </a:lnTo>
                      <a:lnTo>
                        <a:pt x="0" y="79"/>
                      </a:lnTo>
                      <a:lnTo>
                        <a:pt x="3" y="72"/>
                      </a:lnTo>
                      <a:lnTo>
                        <a:pt x="8" y="67"/>
                      </a:lnTo>
                      <a:lnTo>
                        <a:pt x="15" y="64"/>
                      </a:lnTo>
                      <a:lnTo>
                        <a:pt x="25" y="60"/>
                      </a:lnTo>
                      <a:lnTo>
                        <a:pt x="35" y="58"/>
                      </a:lnTo>
                      <a:lnTo>
                        <a:pt x="46" y="57"/>
                      </a:lnTo>
                      <a:lnTo>
                        <a:pt x="56" y="57"/>
                      </a:lnTo>
                      <a:lnTo>
                        <a:pt x="67" y="60"/>
                      </a:lnTo>
                      <a:lnTo>
                        <a:pt x="74" y="63"/>
                      </a:lnTo>
                      <a:lnTo>
                        <a:pt x="81" y="67"/>
                      </a:lnTo>
                      <a:lnTo>
                        <a:pt x="87" y="73"/>
                      </a:lnTo>
                      <a:lnTo>
                        <a:pt x="91" y="78"/>
                      </a:lnTo>
                      <a:lnTo>
                        <a:pt x="93" y="85"/>
                      </a:lnTo>
                      <a:lnTo>
                        <a:pt x="95" y="92"/>
                      </a:lnTo>
                      <a:lnTo>
                        <a:pt x="96" y="102"/>
                      </a:lnTo>
                      <a:lnTo>
                        <a:pt x="98" y="112"/>
                      </a:lnTo>
                      <a:lnTo>
                        <a:pt x="100" y="124"/>
                      </a:lnTo>
                      <a:lnTo>
                        <a:pt x="103" y="135"/>
                      </a:lnTo>
                      <a:lnTo>
                        <a:pt x="106" y="147"/>
                      </a:lnTo>
                      <a:lnTo>
                        <a:pt x="111" y="158"/>
                      </a:lnTo>
                      <a:lnTo>
                        <a:pt x="116" y="168"/>
                      </a:lnTo>
                      <a:lnTo>
                        <a:pt x="123" y="180"/>
                      </a:lnTo>
                      <a:lnTo>
                        <a:pt x="131" y="190"/>
                      </a:lnTo>
                      <a:lnTo>
                        <a:pt x="140" y="199"/>
                      </a:lnTo>
                      <a:lnTo>
                        <a:pt x="150" y="207"/>
                      </a:lnTo>
                      <a:lnTo>
                        <a:pt x="163" y="215"/>
                      </a:lnTo>
                      <a:lnTo>
                        <a:pt x="172" y="219"/>
                      </a:lnTo>
                      <a:lnTo>
                        <a:pt x="183" y="223"/>
                      </a:lnTo>
                      <a:lnTo>
                        <a:pt x="194" y="226"/>
                      </a:lnTo>
                      <a:lnTo>
                        <a:pt x="207" y="228"/>
                      </a:lnTo>
                      <a:lnTo>
                        <a:pt x="220" y="229"/>
                      </a:lnTo>
                    </a:path>
                  </a:pathLst>
                </a:cu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3" name="Freeform 53"/>
                <p:cNvSpPr>
                  <a:spLocks/>
                </p:cNvSpPr>
                <p:nvPr/>
              </p:nvSpPr>
              <p:spPr bwMode="auto">
                <a:xfrm>
                  <a:off x="859" y="1467"/>
                  <a:ext cx="222" cy="230"/>
                </a:xfrm>
                <a:custGeom>
                  <a:avLst/>
                  <a:gdLst/>
                  <a:ahLst/>
                  <a:cxnLst>
                    <a:cxn ang="0">
                      <a:pos x="7" y="204"/>
                    </a:cxn>
                    <a:cxn ang="0">
                      <a:pos x="25" y="158"/>
                    </a:cxn>
                    <a:cxn ang="0">
                      <a:pos x="31" y="111"/>
                    </a:cxn>
                    <a:cxn ang="0">
                      <a:pos x="36" y="72"/>
                    </a:cxn>
                    <a:cxn ang="0">
                      <a:pos x="41" y="52"/>
                    </a:cxn>
                    <a:cxn ang="0">
                      <a:pos x="50" y="37"/>
                    </a:cxn>
                    <a:cxn ang="0">
                      <a:pos x="62" y="24"/>
                    </a:cxn>
                    <a:cxn ang="0">
                      <a:pos x="77" y="13"/>
                    </a:cxn>
                    <a:cxn ang="0">
                      <a:pos x="96" y="5"/>
                    </a:cxn>
                    <a:cxn ang="0">
                      <a:pos x="120" y="0"/>
                    </a:cxn>
                    <a:cxn ang="0">
                      <a:pos x="143" y="0"/>
                    </a:cxn>
                    <a:cxn ang="0">
                      <a:pos x="165" y="7"/>
                    </a:cxn>
                    <a:cxn ang="0">
                      <a:pos x="184" y="16"/>
                    </a:cxn>
                    <a:cxn ang="0">
                      <a:pos x="201" y="31"/>
                    </a:cxn>
                    <a:cxn ang="0">
                      <a:pos x="215" y="51"/>
                    </a:cxn>
                    <a:cxn ang="0">
                      <a:pos x="221" y="73"/>
                    </a:cxn>
                    <a:cxn ang="0">
                      <a:pos x="217" y="72"/>
                    </a:cxn>
                    <a:cxn ang="0">
                      <a:pos x="205" y="64"/>
                    </a:cxn>
                    <a:cxn ang="0">
                      <a:pos x="184" y="58"/>
                    </a:cxn>
                    <a:cxn ang="0">
                      <a:pos x="164" y="57"/>
                    </a:cxn>
                    <a:cxn ang="0">
                      <a:pos x="145" y="63"/>
                    </a:cxn>
                    <a:cxn ang="0">
                      <a:pos x="132" y="73"/>
                    </a:cxn>
                    <a:cxn ang="0">
                      <a:pos x="127" y="85"/>
                    </a:cxn>
                    <a:cxn ang="0">
                      <a:pos x="123" y="102"/>
                    </a:cxn>
                    <a:cxn ang="0">
                      <a:pos x="120" y="124"/>
                    </a:cxn>
                    <a:cxn ang="0">
                      <a:pos x="113" y="147"/>
                    </a:cxn>
                    <a:cxn ang="0">
                      <a:pos x="104" y="168"/>
                    </a:cxn>
                    <a:cxn ang="0">
                      <a:pos x="89" y="190"/>
                    </a:cxn>
                    <a:cxn ang="0">
                      <a:pos x="69" y="207"/>
                    </a:cxn>
                    <a:cxn ang="0">
                      <a:pos x="47" y="219"/>
                    </a:cxn>
                    <a:cxn ang="0">
                      <a:pos x="25" y="226"/>
                    </a:cxn>
                    <a:cxn ang="0">
                      <a:pos x="0" y="229"/>
                    </a:cxn>
                  </a:cxnLst>
                  <a:rect l="0" t="0" r="r" b="b"/>
                  <a:pathLst>
                    <a:path w="222" h="230">
                      <a:moveTo>
                        <a:pt x="0" y="229"/>
                      </a:moveTo>
                      <a:lnTo>
                        <a:pt x="7" y="204"/>
                      </a:lnTo>
                      <a:lnTo>
                        <a:pt x="17" y="180"/>
                      </a:lnTo>
                      <a:lnTo>
                        <a:pt x="25" y="158"/>
                      </a:lnTo>
                      <a:lnTo>
                        <a:pt x="29" y="136"/>
                      </a:lnTo>
                      <a:lnTo>
                        <a:pt x="31" y="111"/>
                      </a:lnTo>
                      <a:lnTo>
                        <a:pt x="34" y="85"/>
                      </a:lnTo>
                      <a:lnTo>
                        <a:pt x="36" y="72"/>
                      </a:lnTo>
                      <a:lnTo>
                        <a:pt x="38" y="61"/>
                      </a:lnTo>
                      <a:lnTo>
                        <a:pt x="41" y="52"/>
                      </a:lnTo>
                      <a:lnTo>
                        <a:pt x="46" y="43"/>
                      </a:lnTo>
                      <a:lnTo>
                        <a:pt x="50" y="37"/>
                      </a:lnTo>
                      <a:lnTo>
                        <a:pt x="56" y="30"/>
                      </a:lnTo>
                      <a:lnTo>
                        <a:pt x="62" y="24"/>
                      </a:lnTo>
                      <a:lnTo>
                        <a:pt x="69" y="18"/>
                      </a:lnTo>
                      <a:lnTo>
                        <a:pt x="77" y="13"/>
                      </a:lnTo>
                      <a:lnTo>
                        <a:pt x="86" y="9"/>
                      </a:lnTo>
                      <a:lnTo>
                        <a:pt x="96" y="5"/>
                      </a:lnTo>
                      <a:lnTo>
                        <a:pt x="108" y="2"/>
                      </a:lnTo>
                      <a:lnTo>
                        <a:pt x="120" y="0"/>
                      </a:lnTo>
                      <a:lnTo>
                        <a:pt x="132" y="0"/>
                      </a:lnTo>
                      <a:lnTo>
                        <a:pt x="143" y="0"/>
                      </a:lnTo>
                      <a:lnTo>
                        <a:pt x="155" y="2"/>
                      </a:lnTo>
                      <a:lnTo>
                        <a:pt x="165" y="7"/>
                      </a:lnTo>
                      <a:lnTo>
                        <a:pt x="175" y="10"/>
                      </a:lnTo>
                      <a:lnTo>
                        <a:pt x="184" y="16"/>
                      </a:lnTo>
                      <a:lnTo>
                        <a:pt x="195" y="24"/>
                      </a:lnTo>
                      <a:lnTo>
                        <a:pt x="201" y="31"/>
                      </a:lnTo>
                      <a:lnTo>
                        <a:pt x="209" y="41"/>
                      </a:lnTo>
                      <a:lnTo>
                        <a:pt x="215" y="51"/>
                      </a:lnTo>
                      <a:lnTo>
                        <a:pt x="219" y="63"/>
                      </a:lnTo>
                      <a:lnTo>
                        <a:pt x="221" y="73"/>
                      </a:lnTo>
                      <a:lnTo>
                        <a:pt x="220" y="79"/>
                      </a:lnTo>
                      <a:lnTo>
                        <a:pt x="217" y="72"/>
                      </a:lnTo>
                      <a:lnTo>
                        <a:pt x="212" y="67"/>
                      </a:lnTo>
                      <a:lnTo>
                        <a:pt x="205" y="64"/>
                      </a:lnTo>
                      <a:lnTo>
                        <a:pt x="195" y="60"/>
                      </a:lnTo>
                      <a:lnTo>
                        <a:pt x="184" y="58"/>
                      </a:lnTo>
                      <a:lnTo>
                        <a:pt x="174" y="57"/>
                      </a:lnTo>
                      <a:lnTo>
                        <a:pt x="164" y="57"/>
                      </a:lnTo>
                      <a:lnTo>
                        <a:pt x="153" y="60"/>
                      </a:lnTo>
                      <a:lnTo>
                        <a:pt x="145" y="63"/>
                      </a:lnTo>
                      <a:lnTo>
                        <a:pt x="139" y="67"/>
                      </a:lnTo>
                      <a:lnTo>
                        <a:pt x="132" y="73"/>
                      </a:lnTo>
                      <a:lnTo>
                        <a:pt x="129" y="78"/>
                      </a:lnTo>
                      <a:lnTo>
                        <a:pt x="127" y="85"/>
                      </a:lnTo>
                      <a:lnTo>
                        <a:pt x="125" y="92"/>
                      </a:lnTo>
                      <a:lnTo>
                        <a:pt x="123" y="102"/>
                      </a:lnTo>
                      <a:lnTo>
                        <a:pt x="122" y="112"/>
                      </a:lnTo>
                      <a:lnTo>
                        <a:pt x="120" y="124"/>
                      </a:lnTo>
                      <a:lnTo>
                        <a:pt x="117" y="135"/>
                      </a:lnTo>
                      <a:lnTo>
                        <a:pt x="113" y="147"/>
                      </a:lnTo>
                      <a:lnTo>
                        <a:pt x="109" y="158"/>
                      </a:lnTo>
                      <a:lnTo>
                        <a:pt x="104" y="168"/>
                      </a:lnTo>
                      <a:lnTo>
                        <a:pt x="97" y="180"/>
                      </a:lnTo>
                      <a:lnTo>
                        <a:pt x="89" y="190"/>
                      </a:lnTo>
                      <a:lnTo>
                        <a:pt x="79" y="199"/>
                      </a:lnTo>
                      <a:lnTo>
                        <a:pt x="69" y="207"/>
                      </a:lnTo>
                      <a:lnTo>
                        <a:pt x="57" y="215"/>
                      </a:lnTo>
                      <a:lnTo>
                        <a:pt x="47" y="219"/>
                      </a:lnTo>
                      <a:lnTo>
                        <a:pt x="37" y="223"/>
                      </a:lnTo>
                      <a:lnTo>
                        <a:pt x="25" y="226"/>
                      </a:lnTo>
                      <a:lnTo>
                        <a:pt x="12" y="228"/>
                      </a:lnTo>
                      <a:lnTo>
                        <a:pt x="0" y="229"/>
                      </a:lnTo>
                    </a:path>
                  </a:pathLst>
                </a:cu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 type="none" w="sm" len="sm"/>
                  <a:tailEnd type="none" w="sm" len="sm"/>
                </a:ln>
                <a:effectLst/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  <p:sp>
              <p:nvSpPr>
                <p:cNvPr id="44" name="Oval 54"/>
                <p:cNvSpPr>
                  <a:spLocks noChangeArrowheads="1"/>
                </p:cNvSpPr>
                <p:nvPr/>
              </p:nvSpPr>
              <p:spPr bwMode="auto">
                <a:xfrm>
                  <a:off x="829" y="1345"/>
                  <a:ext cx="56" cy="52"/>
                </a:xfrm>
                <a:prstGeom prst="ellipse">
                  <a:avLst/>
                </a:prstGeom>
                <a:gradFill rotWithShape="0">
                  <a:gsLst>
                    <a:gs pos="0">
                      <a:schemeClr val="accent1"/>
                    </a:gs>
                    <a:gs pos="100000">
                      <a:schemeClr val="accent1">
                        <a:gamma/>
                        <a:shade val="46275"/>
                        <a:invGamma/>
                      </a:schemeClr>
                    </a:gs>
                  </a:gsLst>
                  <a:lin ang="0" scaled="1"/>
                </a:gradFill>
                <a:ln w="9525">
                  <a:noFill/>
                  <a:round/>
                  <a:headEnd/>
                  <a:tailEnd/>
                </a:ln>
                <a:effectLst/>
              </p:spPr>
              <p:txBody>
                <a:bodyPr wrap="none" lIns="92075" tIns="46038" rIns="92075" bIns="46038" anchor="ctr"/>
                <a:lstStyle/>
                <a:p>
                  <a:pPr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/>
                  </a:pPr>
                  <a:endParaRPr kumimoji="1" lang="ru-RU" sz="2400">
                    <a:solidFill>
                      <a:srgbClr val="333300"/>
                    </a:solidFill>
                    <a:latin typeface="Times New Roman" pitchFamily="18" charset="0"/>
                    <a:cs typeface="Arial" charset="0"/>
                  </a:endParaRPr>
                </a:p>
              </p:txBody>
            </p:sp>
          </p:grpSp>
        </p:grpSp>
      </p:grpSp>
      <p:sp>
        <p:nvSpPr>
          <p:cNvPr id="33794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2738438" y="1381125"/>
            <a:ext cx="6253162" cy="233362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741613" y="4124325"/>
            <a:ext cx="6249987" cy="1285875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54" name="Rectangle 4"/>
          <p:cNvSpPr>
            <a:spLocks noGrp="1" noChangeArrowheads="1"/>
          </p:cNvSpPr>
          <p:nvPr>
            <p:ph type="dt" sz="quarter" idx="10"/>
          </p:nvPr>
        </p:nvSpPr>
        <p:spPr>
          <a:xfrm>
            <a:off x="2743200" y="5410200"/>
            <a:ext cx="6248400" cy="457200"/>
          </a:xfrm>
        </p:spPr>
        <p:txBody>
          <a:bodyPr wrap="none"/>
          <a:lstStyle>
            <a:lvl1pPr>
              <a:defRPr sz="3200" b="1">
                <a:latin typeface="+mn-lt"/>
              </a:defRPr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5" name="Rectangle 5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6" name="Rectangle 5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438E63-F6A8-4FCD-94B2-03BE4AF4A301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8159615"/>
      </p:ext>
    </p:extLst>
  </p:cSld>
  <p:clrMapOvr>
    <a:masterClrMapping/>
  </p:clrMapOvr>
  <p:transition spd="med">
    <p:strips dir="r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3BB339-492D-4DCB-9812-3B27F6DEEAF8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6672611"/>
      </p:ext>
    </p:extLst>
  </p:cSld>
  <p:clrMapOvr>
    <a:masterClrMapping/>
  </p:clrMapOvr>
  <p:transition spd="med">
    <p:strips dir="r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65CC7F-2A4B-46F2-83D9-D568B387C097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617330"/>
      </p:ext>
    </p:extLst>
  </p:cSld>
  <p:clrMapOvr>
    <a:masterClrMapping/>
  </p:clrMapOvr>
  <p:transition spd="med">
    <p:strips dir="r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500188" y="1524000"/>
            <a:ext cx="3668712" cy="4714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21300" y="1524000"/>
            <a:ext cx="3670300" cy="4714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8A3403-89C0-4E24-A878-BB53C1B41646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053657"/>
      </p:ext>
    </p:extLst>
  </p:cSld>
  <p:clrMapOvr>
    <a:masterClrMapping/>
  </p:clrMapOvr>
  <p:transition spd="med">
    <p:strips dir="r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8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9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2DE859-8573-4598-B5D8-5381110C7A9A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0592860"/>
      </p:ext>
    </p:extLst>
  </p:cSld>
  <p:clrMapOvr>
    <a:masterClrMapping/>
  </p:clrMapOvr>
  <p:transition spd="med">
    <p:strips dir="r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4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5573A6-276E-46F7-AB8A-C5DF4402F1C0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282940"/>
      </p:ext>
    </p:extLst>
  </p:cSld>
  <p:clrMapOvr>
    <a:masterClrMapping/>
  </p:clrMapOvr>
  <p:transition spd="med">
    <p:strips dir="r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615C7D-7DD3-4AFA-8D3D-C61DDFEEB2BB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338026"/>
      </p:ext>
    </p:extLst>
  </p:cSld>
  <p:clrMapOvr>
    <a:masterClrMapping/>
  </p:clrMapOvr>
  <p:transition spd="med">
    <p:strips dir="r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3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CE2373-8492-477F-AE2E-041A0CFC0031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3842227"/>
      </p:ext>
    </p:extLst>
  </p:cSld>
  <p:clrMapOvr>
    <a:masterClrMapping/>
  </p:clrMapOvr>
  <p:transition spd="med">
    <p:strips dir="r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CC8620-7F0A-47A6-82EF-67C5B406E721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680827"/>
      </p:ext>
    </p:extLst>
  </p:cSld>
  <p:clrMapOvr>
    <a:masterClrMapping/>
  </p:clrMapOvr>
  <p:transition spd="med">
    <p:strips dir="r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D4DF36-C706-4088-A63D-32E4F2C08203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218740"/>
      </p:ext>
    </p:extLst>
  </p:cSld>
  <p:clrMapOvr>
    <a:masterClrMapping/>
  </p:clrMapOvr>
  <p:transition spd="med">
    <p:strips dir="r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59D59D-B6D8-45F1-BA13-57ADCA16FFD7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083141"/>
      </p:ext>
    </p:extLst>
  </p:cSld>
  <p:clrMapOvr>
    <a:masterClrMapping/>
  </p:clrMapOvr>
  <p:transition spd="med">
    <p:strips dir="r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19938" y="228600"/>
            <a:ext cx="1871662" cy="60102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500188" y="228600"/>
            <a:ext cx="5467350" cy="60102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F0E2941-ADC3-41E5-88D9-66AE0FF15FE6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092988"/>
      </p:ext>
    </p:extLst>
  </p:cSld>
  <p:clrMapOvr>
    <a:masterClrMapping/>
  </p:clrMapOvr>
  <p:transition spd="med">
    <p:strips dir="r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609601"/>
            <a:ext cx="7772400" cy="42672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953000"/>
            <a:ext cx="6400800" cy="1219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371600"/>
            <a:ext cx="7772400" cy="2505075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68763"/>
            <a:ext cx="7772400" cy="1131887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Oval 6"/>
          <p:cNvSpPr/>
          <p:nvPr/>
        </p:nvSpPr>
        <p:spPr>
          <a:xfrm>
            <a:off x="4495800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3924300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600200"/>
            <a:ext cx="4041648" cy="452628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4040188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0" y="1600200"/>
            <a:ext cx="4041775" cy="6096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2212848"/>
            <a:ext cx="4041648" cy="391363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2212848"/>
            <a:ext cx="4041648" cy="39131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500188" y="1524000"/>
            <a:ext cx="3668712" cy="4714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321300" y="1524000"/>
            <a:ext cx="3670300" cy="47148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C20B30-BCE6-4108-9809-92B1D8CBB2A7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4832744"/>
      </p:ext>
    </p:extLst>
  </p:cSld>
  <p:clrMapOvr>
    <a:masterClrMapping/>
  </p:clrMapOvr>
  <p:transition spd="med">
    <p:strips dir="r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7" y="266700"/>
            <a:ext cx="3008313" cy="209550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7" y="273050"/>
            <a:ext cx="4995863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7" y="2438400"/>
            <a:ext cx="3008313" cy="3687763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228600"/>
            <a:ext cx="5711824" cy="895350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1143000"/>
            <a:ext cx="6054724" cy="4541044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5810250"/>
            <a:ext cx="5711824" cy="53340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09.11.2021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43958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6027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5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8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2418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2386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8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9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B0E6D17-4319-408E-9D68-D4AB8F194711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233098"/>
      </p:ext>
    </p:extLst>
  </p:cSld>
  <p:clrMapOvr>
    <a:masterClrMapping/>
  </p:clrMapOvr>
  <p:transition spd="med">
    <p:strips dir="r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7836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55209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44082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80728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540423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13342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37169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82296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8556791" y="6333133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defTabSz="685800"/>
            <a:fld id="{00000000-1234-1234-1234-123412341234}" type="slidenum">
              <a:rPr lang="en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4818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7749877"/>
              </p:ext>
            </p:extLst>
          </p:nvPr>
        </p:nvGraphicFramePr>
        <p:xfrm>
          <a:off x="1193" y="1590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0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4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31" y="3922500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33392048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100" b="1" i="0">
                <a:solidFill>
                  <a:srgbClr val="2A339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55"/>
              </a:lnSpc>
            </a:pPr>
            <a:r>
              <a:rPr spc="5" dirty="0"/>
              <a:t>©</a:t>
            </a:r>
            <a:r>
              <a:rPr spc="-15" dirty="0"/>
              <a:t> </a:t>
            </a:r>
            <a:r>
              <a:rPr spc="-10" dirty="0"/>
              <a:t>А</a:t>
            </a:r>
            <a:r>
              <a:rPr spc="5" dirty="0"/>
              <a:t>О</a:t>
            </a:r>
            <a:r>
              <a:rPr spc="-10" dirty="0"/>
              <a:t> </a:t>
            </a:r>
            <a:r>
              <a:rPr spc="10" dirty="0"/>
              <a:t>«</a:t>
            </a:r>
            <a:r>
              <a:rPr spc="5" dirty="0"/>
              <a:t>Из</a:t>
            </a:r>
            <a:r>
              <a:rPr spc="-15" dirty="0"/>
              <a:t>д</a:t>
            </a:r>
            <a:r>
              <a:rPr dirty="0"/>
              <a:t>а</a:t>
            </a:r>
            <a:r>
              <a:rPr spc="-10" dirty="0"/>
              <a:t>т</a:t>
            </a:r>
            <a:r>
              <a:rPr dirty="0"/>
              <a:t>е</a:t>
            </a:r>
            <a:r>
              <a:rPr spc="-10" dirty="0"/>
              <a:t>л</a:t>
            </a:r>
            <a:r>
              <a:rPr spc="5" dirty="0"/>
              <a:t>ьс</a:t>
            </a:r>
            <a:r>
              <a:rPr spc="-10" dirty="0"/>
              <a:t>т</a:t>
            </a:r>
            <a:r>
              <a:rPr dirty="0"/>
              <a:t>во</a:t>
            </a:r>
            <a:r>
              <a:rPr spc="-45" dirty="0"/>
              <a:t> </a:t>
            </a:r>
            <a:r>
              <a:rPr spc="10" dirty="0"/>
              <a:t>«</a:t>
            </a:r>
            <a:r>
              <a:rPr spc="5" dirty="0"/>
              <a:t>П</a:t>
            </a:r>
            <a:r>
              <a:rPr spc="-5" dirty="0"/>
              <a:t>ро</a:t>
            </a:r>
            <a:r>
              <a:rPr spc="5" dirty="0"/>
              <a:t>с</a:t>
            </a:r>
            <a:r>
              <a:rPr dirty="0"/>
              <a:t>ве</a:t>
            </a:r>
            <a:r>
              <a:rPr spc="-10" dirty="0"/>
              <a:t>щ</a:t>
            </a:r>
            <a:r>
              <a:rPr dirty="0"/>
              <a:t>е</a:t>
            </a:r>
            <a:r>
              <a:rPr spc="-10" dirty="0"/>
              <a:t>н</a:t>
            </a:r>
            <a:r>
              <a:rPr spc="5" dirty="0"/>
              <a:t>и</a:t>
            </a:r>
            <a:r>
              <a:rPr dirty="0"/>
              <a:t>е</a:t>
            </a:r>
            <a:r>
              <a:rPr spc="10" dirty="0"/>
              <a:t>»</a:t>
            </a:r>
            <a:r>
              <a:rPr dirty="0"/>
              <a:t>,</a:t>
            </a:r>
            <a:r>
              <a:rPr spc="-70" dirty="0"/>
              <a:t> </a:t>
            </a:r>
            <a:r>
              <a:rPr spc="-10" dirty="0"/>
              <a:t>202</a:t>
            </a:r>
            <a:r>
              <a:rPr dirty="0"/>
              <a:t>1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43784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4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5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2EB69B-5AEF-4F62-82E2-C743985D1ED0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194442"/>
      </p:ext>
    </p:extLst>
  </p:cSld>
  <p:clrMapOvr>
    <a:masterClrMapping/>
  </p:clrMapOvr>
  <p:transition spd="med">
    <p:strips dir="ru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37207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18265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5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8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78467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04843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210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60835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295202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681124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06413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0379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3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4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DDAB38-4B73-46DC-A5D2-B4D18F5C9D19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0411682"/>
      </p:ext>
    </p:extLst>
  </p:cSld>
  <p:clrMapOvr>
    <a:masterClrMapping/>
  </p:clrMapOvr>
  <p:transition spd="med">
    <p:strips dir="ru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00777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82296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8556791" y="6333133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defTabSz="685800"/>
            <a:fld id="{00000000-1234-1234-1234-123412341234}" type="slidenum">
              <a:rPr lang="en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526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6971062"/>
              </p:ext>
            </p:extLst>
          </p:nvPr>
        </p:nvGraphicFramePr>
        <p:xfrm>
          <a:off x="1193" y="1590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0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4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31" y="3922500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3603913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100" b="1" i="0">
                <a:solidFill>
                  <a:srgbClr val="2A339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55"/>
              </a:lnSpc>
            </a:pPr>
            <a:r>
              <a:rPr spc="5" dirty="0"/>
              <a:t>©</a:t>
            </a:r>
            <a:r>
              <a:rPr spc="-15" dirty="0"/>
              <a:t> </a:t>
            </a:r>
            <a:r>
              <a:rPr spc="-10" dirty="0"/>
              <a:t>А</a:t>
            </a:r>
            <a:r>
              <a:rPr spc="5" dirty="0"/>
              <a:t>О</a:t>
            </a:r>
            <a:r>
              <a:rPr spc="-10" dirty="0"/>
              <a:t> </a:t>
            </a:r>
            <a:r>
              <a:rPr spc="10" dirty="0"/>
              <a:t>«</a:t>
            </a:r>
            <a:r>
              <a:rPr spc="5" dirty="0"/>
              <a:t>Из</a:t>
            </a:r>
            <a:r>
              <a:rPr spc="-15" dirty="0"/>
              <a:t>д</a:t>
            </a:r>
            <a:r>
              <a:rPr dirty="0"/>
              <a:t>а</a:t>
            </a:r>
            <a:r>
              <a:rPr spc="-10" dirty="0"/>
              <a:t>т</a:t>
            </a:r>
            <a:r>
              <a:rPr dirty="0"/>
              <a:t>е</a:t>
            </a:r>
            <a:r>
              <a:rPr spc="-10" dirty="0"/>
              <a:t>л</a:t>
            </a:r>
            <a:r>
              <a:rPr spc="5" dirty="0"/>
              <a:t>ьс</a:t>
            </a:r>
            <a:r>
              <a:rPr spc="-10" dirty="0"/>
              <a:t>т</a:t>
            </a:r>
            <a:r>
              <a:rPr dirty="0"/>
              <a:t>во</a:t>
            </a:r>
            <a:r>
              <a:rPr spc="-45" dirty="0"/>
              <a:t> </a:t>
            </a:r>
            <a:r>
              <a:rPr spc="10" dirty="0"/>
              <a:t>«</a:t>
            </a:r>
            <a:r>
              <a:rPr spc="5" dirty="0"/>
              <a:t>П</a:t>
            </a:r>
            <a:r>
              <a:rPr spc="-5" dirty="0"/>
              <a:t>ро</a:t>
            </a:r>
            <a:r>
              <a:rPr spc="5" dirty="0"/>
              <a:t>с</a:t>
            </a:r>
            <a:r>
              <a:rPr dirty="0"/>
              <a:t>ве</a:t>
            </a:r>
            <a:r>
              <a:rPr spc="-10" dirty="0"/>
              <a:t>щ</a:t>
            </a:r>
            <a:r>
              <a:rPr dirty="0"/>
              <a:t>е</a:t>
            </a:r>
            <a:r>
              <a:rPr spc="-10" dirty="0"/>
              <a:t>н</a:t>
            </a:r>
            <a:r>
              <a:rPr spc="5" dirty="0"/>
              <a:t>и</a:t>
            </a:r>
            <a:r>
              <a:rPr dirty="0"/>
              <a:t>е</a:t>
            </a:r>
            <a:r>
              <a:rPr spc="10" dirty="0"/>
              <a:t>»</a:t>
            </a:r>
            <a:r>
              <a:rPr dirty="0"/>
              <a:t>,</a:t>
            </a:r>
            <a:r>
              <a:rPr spc="-70" dirty="0"/>
              <a:t> </a:t>
            </a:r>
            <a:r>
              <a:rPr spc="-10" dirty="0"/>
              <a:t>202</a:t>
            </a:r>
            <a:r>
              <a:rPr dirty="0"/>
              <a:t>1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71780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57829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92566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5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8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02963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075710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92048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8626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9F7BE-9D85-4EF5-82CC-67A558296963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644351"/>
      </p:ext>
    </p:extLst>
  </p:cSld>
  <p:clrMapOvr>
    <a:masterClrMapping/>
  </p:clrMapOvr>
  <p:transition spd="med">
    <p:strips dir="ru"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295479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26224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7004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671664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5347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82296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8556791" y="6333133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defTabSz="685800"/>
            <a:fld id="{00000000-1234-1234-1234-123412341234}" type="slidenum">
              <a:rPr lang="en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013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4862308"/>
              </p:ext>
            </p:extLst>
          </p:nvPr>
        </p:nvGraphicFramePr>
        <p:xfrm>
          <a:off x="1193" y="1590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3" y="1590"/>
                        <a:ext cx="1191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19064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31" y="3922500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3901162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100" b="1" i="0">
                <a:solidFill>
                  <a:srgbClr val="2A3392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00" b="0" i="0">
                <a:solidFill>
                  <a:srgbClr val="A6A6A6"/>
                </a:solidFill>
                <a:latin typeface="Calibri"/>
                <a:cs typeface="Calibri"/>
              </a:defRPr>
            </a:lvl1pPr>
          </a:lstStyle>
          <a:p>
            <a:pPr marL="12700">
              <a:lnSpc>
                <a:spcPts val="1055"/>
              </a:lnSpc>
            </a:pPr>
            <a:r>
              <a:rPr spc="5" dirty="0"/>
              <a:t>©</a:t>
            </a:r>
            <a:r>
              <a:rPr spc="-15" dirty="0"/>
              <a:t> </a:t>
            </a:r>
            <a:r>
              <a:rPr spc="-10" dirty="0"/>
              <a:t>А</a:t>
            </a:r>
            <a:r>
              <a:rPr spc="5" dirty="0"/>
              <a:t>О</a:t>
            </a:r>
            <a:r>
              <a:rPr spc="-10" dirty="0"/>
              <a:t> </a:t>
            </a:r>
            <a:r>
              <a:rPr spc="10" dirty="0"/>
              <a:t>«</a:t>
            </a:r>
            <a:r>
              <a:rPr spc="5" dirty="0"/>
              <a:t>Из</a:t>
            </a:r>
            <a:r>
              <a:rPr spc="-15" dirty="0"/>
              <a:t>д</a:t>
            </a:r>
            <a:r>
              <a:rPr dirty="0"/>
              <a:t>а</a:t>
            </a:r>
            <a:r>
              <a:rPr spc="-10" dirty="0"/>
              <a:t>т</a:t>
            </a:r>
            <a:r>
              <a:rPr dirty="0"/>
              <a:t>е</a:t>
            </a:r>
            <a:r>
              <a:rPr spc="-10" dirty="0"/>
              <a:t>л</a:t>
            </a:r>
            <a:r>
              <a:rPr spc="5" dirty="0"/>
              <a:t>ьс</a:t>
            </a:r>
            <a:r>
              <a:rPr spc="-10" dirty="0"/>
              <a:t>т</a:t>
            </a:r>
            <a:r>
              <a:rPr dirty="0"/>
              <a:t>во</a:t>
            </a:r>
            <a:r>
              <a:rPr spc="-45" dirty="0"/>
              <a:t> </a:t>
            </a:r>
            <a:r>
              <a:rPr spc="10" dirty="0"/>
              <a:t>«</a:t>
            </a:r>
            <a:r>
              <a:rPr spc="5" dirty="0"/>
              <a:t>П</a:t>
            </a:r>
            <a:r>
              <a:rPr spc="-5" dirty="0"/>
              <a:t>ро</a:t>
            </a:r>
            <a:r>
              <a:rPr spc="5" dirty="0"/>
              <a:t>с</a:t>
            </a:r>
            <a:r>
              <a:rPr dirty="0"/>
              <a:t>ве</a:t>
            </a:r>
            <a:r>
              <a:rPr spc="-10" dirty="0"/>
              <a:t>щ</a:t>
            </a:r>
            <a:r>
              <a:rPr dirty="0"/>
              <a:t>е</a:t>
            </a:r>
            <a:r>
              <a:rPr spc="-10" dirty="0"/>
              <a:t>н</a:t>
            </a:r>
            <a:r>
              <a:rPr spc="5" dirty="0"/>
              <a:t>и</a:t>
            </a:r>
            <a:r>
              <a:rPr dirty="0"/>
              <a:t>е</a:t>
            </a:r>
            <a:r>
              <a:rPr spc="10" dirty="0"/>
              <a:t>»</a:t>
            </a:r>
            <a:r>
              <a:rPr dirty="0"/>
              <a:t>,</a:t>
            </a:r>
            <a:r>
              <a:rPr spc="-70" dirty="0"/>
              <a:t> </a:t>
            </a:r>
            <a:r>
              <a:rPr spc="-10" dirty="0"/>
              <a:t>202</a:t>
            </a:r>
            <a:r>
              <a:rPr dirty="0"/>
              <a:t>1</a:t>
            </a:r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11/9/2021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22203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24010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67572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6" name="Rectangle 3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333300"/>
              </a:solidFill>
            </a:endParaRPr>
          </a:p>
        </p:txBody>
      </p:sp>
      <p:sp>
        <p:nvSpPr>
          <p:cNvPr id="7" name="Rectangle 3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A4AD9-E7D6-4DBC-952E-8F81E882CC7D}" type="slidenum">
              <a:rPr lang="ru-RU">
                <a:solidFill>
                  <a:srgbClr val="3333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33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026340"/>
      </p:ext>
    </p:extLst>
  </p:cSld>
  <p:clrMapOvr>
    <a:masterClrMapping/>
  </p:clrMapOvr>
  <p:transition spd="med">
    <p:strips dir="ru"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5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8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516726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98918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9956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97827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29052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884533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4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43027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9994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51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82296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8556791" y="6333133"/>
            <a:ext cx="5487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pPr defTabSz="685800"/>
            <a:fld id="{00000000-1234-1234-1234-123412341234}" type="slidenum">
              <a:rPr lang="en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363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3" Type="http://schemas.openxmlformats.org/officeDocument/2006/relationships/slideLayout" Target="../slideLayouts/slideLayout76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2" Type="http://schemas.openxmlformats.org/officeDocument/2006/relationships/slideLayout" Target="../slideLayouts/slideLayout7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3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FFFFCC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-9525"/>
            <a:ext cx="1557338" cy="6878638"/>
            <a:chOff x="0" y="-6"/>
            <a:chExt cx="981" cy="4333"/>
          </a:xfrm>
        </p:grpSpPr>
        <p:sp>
          <p:nvSpPr>
            <p:cNvPr id="32771" name="Rectangle 3"/>
            <p:cNvSpPr>
              <a:spLocks noChangeArrowheads="1"/>
            </p:cNvSpPr>
            <p:nvPr/>
          </p:nvSpPr>
          <p:spPr bwMode="auto">
            <a:xfrm>
              <a:off x="453" y="2151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2" name="Rectangle 4"/>
            <p:cNvSpPr>
              <a:spLocks noChangeArrowheads="1"/>
            </p:cNvSpPr>
            <p:nvPr/>
          </p:nvSpPr>
          <p:spPr bwMode="auto">
            <a:xfrm>
              <a:off x="0" y="2151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3" name="Rectangle 5"/>
            <p:cNvSpPr>
              <a:spLocks noChangeArrowheads="1"/>
            </p:cNvSpPr>
            <p:nvPr/>
          </p:nvSpPr>
          <p:spPr bwMode="auto">
            <a:xfrm>
              <a:off x="222" y="2151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4" name="Rectangle 6"/>
            <p:cNvSpPr>
              <a:spLocks noChangeArrowheads="1"/>
            </p:cNvSpPr>
            <p:nvPr/>
          </p:nvSpPr>
          <p:spPr bwMode="auto">
            <a:xfrm>
              <a:off x="567" y="2160"/>
              <a:ext cx="204" cy="2161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5" name="Freeform 7"/>
            <p:cNvSpPr>
              <a:spLocks/>
            </p:cNvSpPr>
            <p:nvPr/>
          </p:nvSpPr>
          <p:spPr bwMode="auto">
            <a:xfrm>
              <a:off x="222" y="2636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6" name="Freeform 8"/>
            <p:cNvSpPr>
              <a:spLocks/>
            </p:cNvSpPr>
            <p:nvPr/>
          </p:nvSpPr>
          <p:spPr bwMode="auto">
            <a:xfrm>
              <a:off x="222" y="2908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7" name="Freeform 9"/>
            <p:cNvSpPr>
              <a:spLocks/>
            </p:cNvSpPr>
            <p:nvPr/>
          </p:nvSpPr>
          <p:spPr bwMode="auto">
            <a:xfrm>
              <a:off x="222" y="3165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8" name="Freeform 10"/>
            <p:cNvSpPr>
              <a:spLocks/>
            </p:cNvSpPr>
            <p:nvPr/>
          </p:nvSpPr>
          <p:spPr bwMode="auto">
            <a:xfrm>
              <a:off x="222" y="3420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9" name="Freeform 11"/>
            <p:cNvSpPr>
              <a:spLocks/>
            </p:cNvSpPr>
            <p:nvPr/>
          </p:nvSpPr>
          <p:spPr bwMode="auto">
            <a:xfrm>
              <a:off x="222" y="367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0" name="Freeform 12"/>
            <p:cNvSpPr>
              <a:spLocks/>
            </p:cNvSpPr>
            <p:nvPr/>
          </p:nvSpPr>
          <p:spPr bwMode="auto">
            <a:xfrm>
              <a:off x="301" y="3932"/>
              <a:ext cx="265" cy="392"/>
            </a:xfrm>
            <a:custGeom>
              <a:avLst/>
              <a:gdLst/>
              <a:ahLst/>
              <a:cxnLst>
                <a:cxn ang="0">
                  <a:pos x="264" y="52"/>
                </a:cxn>
                <a:cxn ang="0">
                  <a:pos x="264" y="194"/>
                </a:cxn>
                <a:cxn ang="0">
                  <a:pos x="256" y="188"/>
                </a:cxn>
                <a:cxn ang="0">
                  <a:pos x="236" y="188"/>
                </a:cxn>
                <a:cxn ang="0">
                  <a:pos x="221" y="194"/>
                </a:cxn>
                <a:cxn ang="0">
                  <a:pos x="205" y="209"/>
                </a:cxn>
                <a:cxn ang="0">
                  <a:pos x="162" y="261"/>
                </a:cxn>
                <a:cxn ang="0">
                  <a:pos x="66" y="366"/>
                </a:cxn>
                <a:cxn ang="0">
                  <a:pos x="45" y="391"/>
                </a:cxn>
                <a:cxn ang="0">
                  <a:pos x="0" y="391"/>
                </a:cxn>
                <a:cxn ang="0">
                  <a:pos x="178" y="190"/>
                </a:cxn>
                <a:cxn ang="0">
                  <a:pos x="218" y="138"/>
                </a:cxn>
                <a:cxn ang="0">
                  <a:pos x="233" y="111"/>
                </a:cxn>
                <a:cxn ang="0">
                  <a:pos x="246" y="84"/>
                </a:cxn>
                <a:cxn ang="0">
                  <a:pos x="256" y="39"/>
                </a:cxn>
                <a:cxn ang="0">
                  <a:pos x="264" y="0"/>
                </a:cxn>
                <a:cxn ang="0">
                  <a:pos x="264" y="117"/>
                </a:cxn>
              </a:cxnLst>
              <a:rect l="0" t="0" r="r" b="b"/>
              <a:pathLst>
                <a:path w="265" h="392">
                  <a:moveTo>
                    <a:pt x="264" y="52"/>
                  </a:moveTo>
                  <a:lnTo>
                    <a:pt x="264" y="194"/>
                  </a:lnTo>
                  <a:lnTo>
                    <a:pt x="256" y="188"/>
                  </a:lnTo>
                  <a:lnTo>
                    <a:pt x="236" y="188"/>
                  </a:lnTo>
                  <a:lnTo>
                    <a:pt x="221" y="194"/>
                  </a:lnTo>
                  <a:lnTo>
                    <a:pt x="205" y="209"/>
                  </a:lnTo>
                  <a:lnTo>
                    <a:pt x="162" y="261"/>
                  </a:lnTo>
                  <a:lnTo>
                    <a:pt x="66" y="366"/>
                  </a:lnTo>
                  <a:lnTo>
                    <a:pt x="45" y="391"/>
                  </a:lnTo>
                  <a:lnTo>
                    <a:pt x="0" y="391"/>
                  </a:lnTo>
                  <a:lnTo>
                    <a:pt x="178" y="190"/>
                  </a:lnTo>
                  <a:lnTo>
                    <a:pt x="218" y="138"/>
                  </a:lnTo>
                  <a:lnTo>
                    <a:pt x="233" y="111"/>
                  </a:lnTo>
                  <a:lnTo>
                    <a:pt x="246" y="84"/>
                  </a:lnTo>
                  <a:lnTo>
                    <a:pt x="256" y="39"/>
                  </a:lnTo>
                  <a:lnTo>
                    <a:pt x="264" y="0"/>
                  </a:lnTo>
                  <a:lnTo>
                    <a:pt x="264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1" name="Freeform 13"/>
            <p:cNvSpPr>
              <a:spLocks/>
            </p:cNvSpPr>
            <p:nvPr/>
          </p:nvSpPr>
          <p:spPr bwMode="auto">
            <a:xfrm>
              <a:off x="222" y="2366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2" name="Freeform 14"/>
            <p:cNvSpPr>
              <a:spLocks/>
            </p:cNvSpPr>
            <p:nvPr/>
          </p:nvSpPr>
          <p:spPr bwMode="auto">
            <a:xfrm>
              <a:off x="222" y="2151"/>
              <a:ext cx="346" cy="575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3"/>
                </a:cxn>
                <a:cxn ang="0">
                  <a:pos x="30" y="433"/>
                </a:cxn>
                <a:cxn ang="0">
                  <a:pos x="17" y="463"/>
                </a:cxn>
                <a:cxn ang="0">
                  <a:pos x="10" y="510"/>
                </a:cxn>
                <a:cxn ang="0">
                  <a:pos x="0" y="574"/>
                </a:cxn>
                <a:cxn ang="0">
                  <a:pos x="0" y="293"/>
                </a:cxn>
                <a:cxn ang="0">
                  <a:pos x="5" y="320"/>
                </a:cxn>
                <a:cxn ang="0">
                  <a:pos x="10" y="332"/>
                </a:cxn>
                <a:cxn ang="0">
                  <a:pos x="20" y="338"/>
                </a:cxn>
                <a:cxn ang="0">
                  <a:pos x="30" y="341"/>
                </a:cxn>
                <a:cxn ang="0">
                  <a:pos x="45" y="341"/>
                </a:cxn>
                <a:cxn ang="0">
                  <a:pos x="60" y="335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5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3"/>
                  </a:lnTo>
                  <a:lnTo>
                    <a:pt x="30" y="433"/>
                  </a:lnTo>
                  <a:lnTo>
                    <a:pt x="17" y="463"/>
                  </a:lnTo>
                  <a:lnTo>
                    <a:pt x="10" y="510"/>
                  </a:lnTo>
                  <a:lnTo>
                    <a:pt x="0" y="574"/>
                  </a:lnTo>
                  <a:lnTo>
                    <a:pt x="0" y="293"/>
                  </a:lnTo>
                  <a:lnTo>
                    <a:pt x="5" y="320"/>
                  </a:lnTo>
                  <a:lnTo>
                    <a:pt x="10" y="332"/>
                  </a:lnTo>
                  <a:lnTo>
                    <a:pt x="20" y="338"/>
                  </a:lnTo>
                  <a:lnTo>
                    <a:pt x="30" y="341"/>
                  </a:lnTo>
                  <a:lnTo>
                    <a:pt x="45" y="341"/>
                  </a:lnTo>
                  <a:lnTo>
                    <a:pt x="60" y="335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3" name="Rectangle 15"/>
            <p:cNvSpPr>
              <a:spLocks noChangeArrowheads="1"/>
            </p:cNvSpPr>
            <p:nvPr/>
          </p:nvSpPr>
          <p:spPr bwMode="auto">
            <a:xfrm>
              <a:off x="453" y="-3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4" name="Rectangle 16"/>
            <p:cNvSpPr>
              <a:spLocks noChangeArrowheads="1"/>
            </p:cNvSpPr>
            <p:nvPr/>
          </p:nvSpPr>
          <p:spPr bwMode="auto">
            <a:xfrm>
              <a:off x="0" y="-3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5" name="Rectangle 17"/>
            <p:cNvSpPr>
              <a:spLocks noChangeArrowheads="1"/>
            </p:cNvSpPr>
            <p:nvPr/>
          </p:nvSpPr>
          <p:spPr bwMode="auto">
            <a:xfrm>
              <a:off x="222" y="-3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6" name="Rectangle 18"/>
            <p:cNvSpPr>
              <a:spLocks noChangeArrowheads="1"/>
            </p:cNvSpPr>
            <p:nvPr/>
          </p:nvSpPr>
          <p:spPr bwMode="auto">
            <a:xfrm>
              <a:off x="567" y="-3"/>
              <a:ext cx="204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7" name="Freeform 19"/>
            <p:cNvSpPr>
              <a:spLocks/>
            </p:cNvSpPr>
            <p:nvPr/>
          </p:nvSpPr>
          <p:spPr bwMode="auto">
            <a:xfrm>
              <a:off x="222" y="49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8" name="Freeform 20"/>
            <p:cNvSpPr>
              <a:spLocks/>
            </p:cNvSpPr>
            <p:nvPr/>
          </p:nvSpPr>
          <p:spPr bwMode="auto">
            <a:xfrm>
              <a:off x="222" y="754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9" name="Freeform 21"/>
            <p:cNvSpPr>
              <a:spLocks/>
            </p:cNvSpPr>
            <p:nvPr/>
          </p:nvSpPr>
          <p:spPr bwMode="auto">
            <a:xfrm>
              <a:off x="222" y="1010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0" name="Freeform 22"/>
            <p:cNvSpPr>
              <a:spLocks/>
            </p:cNvSpPr>
            <p:nvPr/>
          </p:nvSpPr>
          <p:spPr bwMode="auto">
            <a:xfrm>
              <a:off x="222" y="126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1" name="Freeform 23"/>
            <p:cNvSpPr>
              <a:spLocks/>
            </p:cNvSpPr>
            <p:nvPr/>
          </p:nvSpPr>
          <p:spPr bwMode="auto">
            <a:xfrm>
              <a:off x="222" y="1522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2" name="Freeform 24"/>
            <p:cNvSpPr>
              <a:spLocks/>
            </p:cNvSpPr>
            <p:nvPr/>
          </p:nvSpPr>
          <p:spPr bwMode="auto">
            <a:xfrm>
              <a:off x="219" y="4178"/>
              <a:ext cx="349" cy="149"/>
            </a:xfrm>
            <a:custGeom>
              <a:avLst/>
              <a:gdLst/>
              <a:ahLst/>
              <a:cxnLst>
                <a:cxn ang="0">
                  <a:pos x="345" y="52"/>
                </a:cxn>
                <a:cxn ang="0">
                  <a:pos x="348" y="144"/>
                </a:cxn>
                <a:cxn ang="0">
                  <a:pos x="0" y="148"/>
                </a:cxn>
                <a:cxn ang="0">
                  <a:pos x="299" y="143"/>
                </a:cxn>
                <a:cxn ang="0">
                  <a:pos x="315" y="111"/>
                </a:cxn>
                <a:cxn ang="0">
                  <a:pos x="328" y="84"/>
                </a:cxn>
                <a:cxn ang="0">
                  <a:pos x="338" y="39"/>
                </a:cxn>
                <a:cxn ang="0">
                  <a:pos x="345" y="0"/>
                </a:cxn>
                <a:cxn ang="0">
                  <a:pos x="345" y="117"/>
                </a:cxn>
              </a:cxnLst>
              <a:rect l="0" t="0" r="r" b="b"/>
              <a:pathLst>
                <a:path w="349" h="149">
                  <a:moveTo>
                    <a:pt x="345" y="52"/>
                  </a:moveTo>
                  <a:lnTo>
                    <a:pt x="348" y="144"/>
                  </a:lnTo>
                  <a:lnTo>
                    <a:pt x="0" y="148"/>
                  </a:lnTo>
                  <a:lnTo>
                    <a:pt x="299" y="143"/>
                  </a:lnTo>
                  <a:lnTo>
                    <a:pt x="315" y="111"/>
                  </a:lnTo>
                  <a:lnTo>
                    <a:pt x="328" y="84"/>
                  </a:lnTo>
                  <a:lnTo>
                    <a:pt x="338" y="39"/>
                  </a:lnTo>
                  <a:lnTo>
                    <a:pt x="345" y="0"/>
                  </a:lnTo>
                  <a:lnTo>
                    <a:pt x="345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3" name="Freeform 25"/>
            <p:cNvSpPr>
              <a:spLocks/>
            </p:cNvSpPr>
            <p:nvPr/>
          </p:nvSpPr>
          <p:spPr bwMode="auto">
            <a:xfrm>
              <a:off x="222" y="211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4" name="Freeform 26"/>
            <p:cNvSpPr>
              <a:spLocks/>
            </p:cNvSpPr>
            <p:nvPr/>
          </p:nvSpPr>
          <p:spPr bwMode="auto">
            <a:xfrm>
              <a:off x="222" y="-3"/>
              <a:ext cx="346" cy="574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2"/>
                </a:cxn>
                <a:cxn ang="0">
                  <a:pos x="30" y="432"/>
                </a:cxn>
                <a:cxn ang="0">
                  <a:pos x="17" y="462"/>
                </a:cxn>
                <a:cxn ang="0">
                  <a:pos x="10" y="509"/>
                </a:cxn>
                <a:cxn ang="0">
                  <a:pos x="0" y="573"/>
                </a:cxn>
                <a:cxn ang="0">
                  <a:pos x="0" y="292"/>
                </a:cxn>
                <a:cxn ang="0">
                  <a:pos x="5" y="319"/>
                </a:cxn>
                <a:cxn ang="0">
                  <a:pos x="10" y="331"/>
                </a:cxn>
                <a:cxn ang="0">
                  <a:pos x="20" y="337"/>
                </a:cxn>
                <a:cxn ang="0">
                  <a:pos x="30" y="340"/>
                </a:cxn>
                <a:cxn ang="0">
                  <a:pos x="45" y="340"/>
                </a:cxn>
                <a:cxn ang="0">
                  <a:pos x="60" y="334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4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2"/>
                  </a:lnTo>
                  <a:lnTo>
                    <a:pt x="30" y="432"/>
                  </a:lnTo>
                  <a:lnTo>
                    <a:pt x="17" y="462"/>
                  </a:lnTo>
                  <a:lnTo>
                    <a:pt x="10" y="509"/>
                  </a:lnTo>
                  <a:lnTo>
                    <a:pt x="0" y="573"/>
                  </a:lnTo>
                  <a:lnTo>
                    <a:pt x="0" y="292"/>
                  </a:lnTo>
                  <a:lnTo>
                    <a:pt x="5" y="319"/>
                  </a:lnTo>
                  <a:lnTo>
                    <a:pt x="10" y="331"/>
                  </a:lnTo>
                  <a:lnTo>
                    <a:pt x="20" y="337"/>
                  </a:lnTo>
                  <a:lnTo>
                    <a:pt x="30" y="340"/>
                  </a:lnTo>
                  <a:lnTo>
                    <a:pt x="45" y="340"/>
                  </a:lnTo>
                  <a:lnTo>
                    <a:pt x="60" y="334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5" name="Freeform 27"/>
            <p:cNvSpPr>
              <a:spLocks/>
            </p:cNvSpPr>
            <p:nvPr/>
          </p:nvSpPr>
          <p:spPr bwMode="auto">
            <a:xfrm>
              <a:off x="224" y="-6"/>
              <a:ext cx="154" cy="294"/>
            </a:xfrm>
            <a:custGeom>
              <a:avLst/>
              <a:gdLst/>
              <a:ahLst/>
              <a:cxnLst>
                <a:cxn ang="0">
                  <a:pos x="153" y="3"/>
                </a:cxn>
                <a:cxn ang="0">
                  <a:pos x="50" y="122"/>
                </a:cxn>
                <a:cxn ang="0">
                  <a:pos x="30" y="152"/>
                </a:cxn>
                <a:cxn ang="0">
                  <a:pos x="17" y="182"/>
                </a:cxn>
                <a:cxn ang="0">
                  <a:pos x="10" y="229"/>
                </a:cxn>
                <a:cxn ang="0">
                  <a:pos x="0" y="293"/>
                </a:cxn>
                <a:cxn ang="0">
                  <a:pos x="0" y="12"/>
                </a:cxn>
                <a:cxn ang="0">
                  <a:pos x="5" y="39"/>
                </a:cxn>
                <a:cxn ang="0">
                  <a:pos x="10" y="51"/>
                </a:cxn>
                <a:cxn ang="0">
                  <a:pos x="20" y="57"/>
                </a:cxn>
                <a:cxn ang="0">
                  <a:pos x="30" y="60"/>
                </a:cxn>
                <a:cxn ang="0">
                  <a:pos x="45" y="60"/>
                </a:cxn>
                <a:cxn ang="0">
                  <a:pos x="60" y="54"/>
                </a:cxn>
                <a:cxn ang="0">
                  <a:pos x="110" y="0"/>
                </a:cxn>
              </a:cxnLst>
              <a:rect l="0" t="0" r="r" b="b"/>
              <a:pathLst>
                <a:path w="154" h="294">
                  <a:moveTo>
                    <a:pt x="153" y="3"/>
                  </a:moveTo>
                  <a:lnTo>
                    <a:pt x="50" y="122"/>
                  </a:lnTo>
                  <a:lnTo>
                    <a:pt x="30" y="152"/>
                  </a:lnTo>
                  <a:lnTo>
                    <a:pt x="17" y="182"/>
                  </a:lnTo>
                  <a:lnTo>
                    <a:pt x="10" y="229"/>
                  </a:lnTo>
                  <a:lnTo>
                    <a:pt x="0" y="293"/>
                  </a:lnTo>
                  <a:lnTo>
                    <a:pt x="0" y="12"/>
                  </a:lnTo>
                  <a:lnTo>
                    <a:pt x="5" y="39"/>
                  </a:lnTo>
                  <a:lnTo>
                    <a:pt x="10" y="51"/>
                  </a:lnTo>
                  <a:lnTo>
                    <a:pt x="20" y="57"/>
                  </a:lnTo>
                  <a:lnTo>
                    <a:pt x="30" y="60"/>
                  </a:lnTo>
                  <a:lnTo>
                    <a:pt x="45" y="60"/>
                  </a:lnTo>
                  <a:lnTo>
                    <a:pt x="60" y="54"/>
                  </a:lnTo>
                  <a:lnTo>
                    <a:pt x="110" y="0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6" name="Freeform 28"/>
            <p:cNvSpPr>
              <a:spLocks/>
            </p:cNvSpPr>
            <p:nvPr/>
          </p:nvSpPr>
          <p:spPr bwMode="auto">
            <a:xfrm>
              <a:off x="222" y="179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7" name="Rectangle 29"/>
            <p:cNvSpPr>
              <a:spLocks noChangeArrowheads="1"/>
            </p:cNvSpPr>
            <p:nvPr/>
          </p:nvSpPr>
          <p:spPr bwMode="auto">
            <a:xfrm>
              <a:off x="771" y="0"/>
              <a:ext cx="210" cy="4319"/>
            </a:xfrm>
            <a:prstGeom prst="rect">
              <a:avLst/>
            </a:pr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059" name="Line 30"/>
            <p:cNvSpPr>
              <a:spLocks noChangeShapeType="1"/>
            </p:cNvSpPr>
            <p:nvPr/>
          </p:nvSpPr>
          <p:spPr bwMode="auto">
            <a:xfrm>
              <a:off x="13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060" name="Line 31"/>
            <p:cNvSpPr>
              <a:spLocks noChangeShapeType="1"/>
            </p:cNvSpPr>
            <p:nvPr/>
          </p:nvSpPr>
          <p:spPr bwMode="auto">
            <a:xfrm>
              <a:off x="64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</p:grpSp>
      <p:sp>
        <p:nvSpPr>
          <p:cNvPr id="1027" name="Rectangle 32"/>
          <p:cNvSpPr>
            <a:spLocks noGrp="1" noChangeArrowheads="1"/>
          </p:cNvSpPr>
          <p:nvPr>
            <p:ph type="title"/>
          </p:nvPr>
        </p:nvSpPr>
        <p:spPr bwMode="auto">
          <a:xfrm>
            <a:off x="1500188" y="228600"/>
            <a:ext cx="74914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3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00188" y="1524000"/>
            <a:ext cx="7491412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32802" name="Rectangle 3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447800" y="6324600"/>
            <a:ext cx="14097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kumimoji="0" sz="140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  <p:sp>
        <p:nvSpPr>
          <p:cNvPr id="32803" name="Rectangle 3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33800" y="63246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kumimoji="0" sz="140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  <p:sp>
        <p:nvSpPr>
          <p:cNvPr id="32804" name="Rectangle 3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3246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kumimoji="0" sz="140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D42B57E-34BC-4134-BD7D-08907F0C8621}" type="slidenum">
              <a:rPr lang="ru-RU">
                <a:solidFill>
                  <a:srgbClr val="333300"/>
                </a:solidFill>
                <a:latin typeface="Times New Roman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4145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 spd="med">
    <p:strips dir="ru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l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FFFFCC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-9525"/>
            <a:ext cx="1557338" cy="6878638"/>
            <a:chOff x="0" y="-6"/>
            <a:chExt cx="981" cy="4333"/>
          </a:xfrm>
        </p:grpSpPr>
        <p:sp>
          <p:nvSpPr>
            <p:cNvPr id="32771" name="Rectangle 3"/>
            <p:cNvSpPr>
              <a:spLocks noChangeArrowheads="1"/>
            </p:cNvSpPr>
            <p:nvPr/>
          </p:nvSpPr>
          <p:spPr bwMode="auto">
            <a:xfrm>
              <a:off x="453" y="2151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2" name="Rectangle 4"/>
            <p:cNvSpPr>
              <a:spLocks noChangeArrowheads="1"/>
            </p:cNvSpPr>
            <p:nvPr/>
          </p:nvSpPr>
          <p:spPr bwMode="auto">
            <a:xfrm>
              <a:off x="0" y="2151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3" name="Rectangle 5"/>
            <p:cNvSpPr>
              <a:spLocks noChangeArrowheads="1"/>
            </p:cNvSpPr>
            <p:nvPr/>
          </p:nvSpPr>
          <p:spPr bwMode="auto">
            <a:xfrm>
              <a:off x="222" y="2151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4" name="Rectangle 6"/>
            <p:cNvSpPr>
              <a:spLocks noChangeArrowheads="1"/>
            </p:cNvSpPr>
            <p:nvPr/>
          </p:nvSpPr>
          <p:spPr bwMode="auto">
            <a:xfrm>
              <a:off x="567" y="2160"/>
              <a:ext cx="204" cy="2161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5" name="Freeform 7"/>
            <p:cNvSpPr>
              <a:spLocks/>
            </p:cNvSpPr>
            <p:nvPr/>
          </p:nvSpPr>
          <p:spPr bwMode="auto">
            <a:xfrm>
              <a:off x="222" y="2636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6" name="Freeform 8"/>
            <p:cNvSpPr>
              <a:spLocks/>
            </p:cNvSpPr>
            <p:nvPr/>
          </p:nvSpPr>
          <p:spPr bwMode="auto">
            <a:xfrm>
              <a:off x="222" y="2908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7" name="Freeform 9"/>
            <p:cNvSpPr>
              <a:spLocks/>
            </p:cNvSpPr>
            <p:nvPr/>
          </p:nvSpPr>
          <p:spPr bwMode="auto">
            <a:xfrm>
              <a:off x="222" y="3165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8" name="Freeform 10"/>
            <p:cNvSpPr>
              <a:spLocks/>
            </p:cNvSpPr>
            <p:nvPr/>
          </p:nvSpPr>
          <p:spPr bwMode="auto">
            <a:xfrm>
              <a:off x="222" y="3420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9" name="Freeform 11"/>
            <p:cNvSpPr>
              <a:spLocks/>
            </p:cNvSpPr>
            <p:nvPr/>
          </p:nvSpPr>
          <p:spPr bwMode="auto">
            <a:xfrm>
              <a:off x="222" y="367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0" name="Freeform 12"/>
            <p:cNvSpPr>
              <a:spLocks/>
            </p:cNvSpPr>
            <p:nvPr/>
          </p:nvSpPr>
          <p:spPr bwMode="auto">
            <a:xfrm>
              <a:off x="301" y="3932"/>
              <a:ext cx="265" cy="392"/>
            </a:xfrm>
            <a:custGeom>
              <a:avLst/>
              <a:gdLst/>
              <a:ahLst/>
              <a:cxnLst>
                <a:cxn ang="0">
                  <a:pos x="264" y="52"/>
                </a:cxn>
                <a:cxn ang="0">
                  <a:pos x="264" y="194"/>
                </a:cxn>
                <a:cxn ang="0">
                  <a:pos x="256" y="188"/>
                </a:cxn>
                <a:cxn ang="0">
                  <a:pos x="236" y="188"/>
                </a:cxn>
                <a:cxn ang="0">
                  <a:pos x="221" y="194"/>
                </a:cxn>
                <a:cxn ang="0">
                  <a:pos x="205" y="209"/>
                </a:cxn>
                <a:cxn ang="0">
                  <a:pos x="162" y="261"/>
                </a:cxn>
                <a:cxn ang="0">
                  <a:pos x="66" y="366"/>
                </a:cxn>
                <a:cxn ang="0">
                  <a:pos x="45" y="391"/>
                </a:cxn>
                <a:cxn ang="0">
                  <a:pos x="0" y="391"/>
                </a:cxn>
                <a:cxn ang="0">
                  <a:pos x="178" y="190"/>
                </a:cxn>
                <a:cxn ang="0">
                  <a:pos x="218" y="138"/>
                </a:cxn>
                <a:cxn ang="0">
                  <a:pos x="233" y="111"/>
                </a:cxn>
                <a:cxn ang="0">
                  <a:pos x="246" y="84"/>
                </a:cxn>
                <a:cxn ang="0">
                  <a:pos x="256" y="39"/>
                </a:cxn>
                <a:cxn ang="0">
                  <a:pos x="264" y="0"/>
                </a:cxn>
                <a:cxn ang="0">
                  <a:pos x="264" y="117"/>
                </a:cxn>
              </a:cxnLst>
              <a:rect l="0" t="0" r="r" b="b"/>
              <a:pathLst>
                <a:path w="265" h="392">
                  <a:moveTo>
                    <a:pt x="264" y="52"/>
                  </a:moveTo>
                  <a:lnTo>
                    <a:pt x="264" y="194"/>
                  </a:lnTo>
                  <a:lnTo>
                    <a:pt x="256" y="188"/>
                  </a:lnTo>
                  <a:lnTo>
                    <a:pt x="236" y="188"/>
                  </a:lnTo>
                  <a:lnTo>
                    <a:pt x="221" y="194"/>
                  </a:lnTo>
                  <a:lnTo>
                    <a:pt x="205" y="209"/>
                  </a:lnTo>
                  <a:lnTo>
                    <a:pt x="162" y="261"/>
                  </a:lnTo>
                  <a:lnTo>
                    <a:pt x="66" y="366"/>
                  </a:lnTo>
                  <a:lnTo>
                    <a:pt x="45" y="391"/>
                  </a:lnTo>
                  <a:lnTo>
                    <a:pt x="0" y="391"/>
                  </a:lnTo>
                  <a:lnTo>
                    <a:pt x="178" y="190"/>
                  </a:lnTo>
                  <a:lnTo>
                    <a:pt x="218" y="138"/>
                  </a:lnTo>
                  <a:lnTo>
                    <a:pt x="233" y="111"/>
                  </a:lnTo>
                  <a:lnTo>
                    <a:pt x="246" y="84"/>
                  </a:lnTo>
                  <a:lnTo>
                    <a:pt x="256" y="39"/>
                  </a:lnTo>
                  <a:lnTo>
                    <a:pt x="264" y="0"/>
                  </a:lnTo>
                  <a:lnTo>
                    <a:pt x="264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1" name="Freeform 13"/>
            <p:cNvSpPr>
              <a:spLocks/>
            </p:cNvSpPr>
            <p:nvPr/>
          </p:nvSpPr>
          <p:spPr bwMode="auto">
            <a:xfrm>
              <a:off x="222" y="2366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2" name="Freeform 14"/>
            <p:cNvSpPr>
              <a:spLocks/>
            </p:cNvSpPr>
            <p:nvPr/>
          </p:nvSpPr>
          <p:spPr bwMode="auto">
            <a:xfrm>
              <a:off x="222" y="2151"/>
              <a:ext cx="346" cy="575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3"/>
                </a:cxn>
                <a:cxn ang="0">
                  <a:pos x="30" y="433"/>
                </a:cxn>
                <a:cxn ang="0">
                  <a:pos x="17" y="463"/>
                </a:cxn>
                <a:cxn ang="0">
                  <a:pos x="10" y="510"/>
                </a:cxn>
                <a:cxn ang="0">
                  <a:pos x="0" y="574"/>
                </a:cxn>
                <a:cxn ang="0">
                  <a:pos x="0" y="293"/>
                </a:cxn>
                <a:cxn ang="0">
                  <a:pos x="5" y="320"/>
                </a:cxn>
                <a:cxn ang="0">
                  <a:pos x="10" y="332"/>
                </a:cxn>
                <a:cxn ang="0">
                  <a:pos x="20" y="338"/>
                </a:cxn>
                <a:cxn ang="0">
                  <a:pos x="30" y="341"/>
                </a:cxn>
                <a:cxn ang="0">
                  <a:pos x="45" y="341"/>
                </a:cxn>
                <a:cxn ang="0">
                  <a:pos x="60" y="335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5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3"/>
                  </a:lnTo>
                  <a:lnTo>
                    <a:pt x="30" y="433"/>
                  </a:lnTo>
                  <a:lnTo>
                    <a:pt x="17" y="463"/>
                  </a:lnTo>
                  <a:lnTo>
                    <a:pt x="10" y="510"/>
                  </a:lnTo>
                  <a:lnTo>
                    <a:pt x="0" y="574"/>
                  </a:lnTo>
                  <a:lnTo>
                    <a:pt x="0" y="293"/>
                  </a:lnTo>
                  <a:lnTo>
                    <a:pt x="5" y="320"/>
                  </a:lnTo>
                  <a:lnTo>
                    <a:pt x="10" y="332"/>
                  </a:lnTo>
                  <a:lnTo>
                    <a:pt x="20" y="338"/>
                  </a:lnTo>
                  <a:lnTo>
                    <a:pt x="30" y="341"/>
                  </a:lnTo>
                  <a:lnTo>
                    <a:pt x="45" y="341"/>
                  </a:lnTo>
                  <a:lnTo>
                    <a:pt x="60" y="335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3" name="Rectangle 15"/>
            <p:cNvSpPr>
              <a:spLocks noChangeArrowheads="1"/>
            </p:cNvSpPr>
            <p:nvPr/>
          </p:nvSpPr>
          <p:spPr bwMode="auto">
            <a:xfrm>
              <a:off x="453" y="-3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4" name="Rectangle 16"/>
            <p:cNvSpPr>
              <a:spLocks noChangeArrowheads="1"/>
            </p:cNvSpPr>
            <p:nvPr/>
          </p:nvSpPr>
          <p:spPr bwMode="auto">
            <a:xfrm>
              <a:off x="0" y="-3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5" name="Rectangle 17"/>
            <p:cNvSpPr>
              <a:spLocks noChangeArrowheads="1"/>
            </p:cNvSpPr>
            <p:nvPr/>
          </p:nvSpPr>
          <p:spPr bwMode="auto">
            <a:xfrm>
              <a:off x="222" y="-3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6" name="Rectangle 18"/>
            <p:cNvSpPr>
              <a:spLocks noChangeArrowheads="1"/>
            </p:cNvSpPr>
            <p:nvPr/>
          </p:nvSpPr>
          <p:spPr bwMode="auto">
            <a:xfrm>
              <a:off x="567" y="-3"/>
              <a:ext cx="204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7" name="Freeform 19"/>
            <p:cNvSpPr>
              <a:spLocks/>
            </p:cNvSpPr>
            <p:nvPr/>
          </p:nvSpPr>
          <p:spPr bwMode="auto">
            <a:xfrm>
              <a:off x="222" y="49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8" name="Freeform 20"/>
            <p:cNvSpPr>
              <a:spLocks/>
            </p:cNvSpPr>
            <p:nvPr/>
          </p:nvSpPr>
          <p:spPr bwMode="auto">
            <a:xfrm>
              <a:off x="222" y="754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9" name="Freeform 21"/>
            <p:cNvSpPr>
              <a:spLocks/>
            </p:cNvSpPr>
            <p:nvPr/>
          </p:nvSpPr>
          <p:spPr bwMode="auto">
            <a:xfrm>
              <a:off x="222" y="1010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0" name="Freeform 22"/>
            <p:cNvSpPr>
              <a:spLocks/>
            </p:cNvSpPr>
            <p:nvPr/>
          </p:nvSpPr>
          <p:spPr bwMode="auto">
            <a:xfrm>
              <a:off x="222" y="126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1" name="Freeform 23"/>
            <p:cNvSpPr>
              <a:spLocks/>
            </p:cNvSpPr>
            <p:nvPr/>
          </p:nvSpPr>
          <p:spPr bwMode="auto">
            <a:xfrm>
              <a:off x="222" y="1522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2" name="Freeform 24"/>
            <p:cNvSpPr>
              <a:spLocks/>
            </p:cNvSpPr>
            <p:nvPr/>
          </p:nvSpPr>
          <p:spPr bwMode="auto">
            <a:xfrm>
              <a:off x="219" y="4178"/>
              <a:ext cx="349" cy="149"/>
            </a:xfrm>
            <a:custGeom>
              <a:avLst/>
              <a:gdLst/>
              <a:ahLst/>
              <a:cxnLst>
                <a:cxn ang="0">
                  <a:pos x="345" y="52"/>
                </a:cxn>
                <a:cxn ang="0">
                  <a:pos x="348" y="144"/>
                </a:cxn>
                <a:cxn ang="0">
                  <a:pos x="0" y="148"/>
                </a:cxn>
                <a:cxn ang="0">
                  <a:pos x="299" y="143"/>
                </a:cxn>
                <a:cxn ang="0">
                  <a:pos x="315" y="111"/>
                </a:cxn>
                <a:cxn ang="0">
                  <a:pos x="328" y="84"/>
                </a:cxn>
                <a:cxn ang="0">
                  <a:pos x="338" y="39"/>
                </a:cxn>
                <a:cxn ang="0">
                  <a:pos x="345" y="0"/>
                </a:cxn>
                <a:cxn ang="0">
                  <a:pos x="345" y="117"/>
                </a:cxn>
              </a:cxnLst>
              <a:rect l="0" t="0" r="r" b="b"/>
              <a:pathLst>
                <a:path w="349" h="149">
                  <a:moveTo>
                    <a:pt x="345" y="52"/>
                  </a:moveTo>
                  <a:lnTo>
                    <a:pt x="348" y="144"/>
                  </a:lnTo>
                  <a:lnTo>
                    <a:pt x="0" y="148"/>
                  </a:lnTo>
                  <a:lnTo>
                    <a:pt x="299" y="143"/>
                  </a:lnTo>
                  <a:lnTo>
                    <a:pt x="315" y="111"/>
                  </a:lnTo>
                  <a:lnTo>
                    <a:pt x="328" y="84"/>
                  </a:lnTo>
                  <a:lnTo>
                    <a:pt x="338" y="39"/>
                  </a:lnTo>
                  <a:lnTo>
                    <a:pt x="345" y="0"/>
                  </a:lnTo>
                  <a:lnTo>
                    <a:pt x="345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3" name="Freeform 25"/>
            <p:cNvSpPr>
              <a:spLocks/>
            </p:cNvSpPr>
            <p:nvPr/>
          </p:nvSpPr>
          <p:spPr bwMode="auto">
            <a:xfrm>
              <a:off x="222" y="211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4" name="Freeform 26"/>
            <p:cNvSpPr>
              <a:spLocks/>
            </p:cNvSpPr>
            <p:nvPr/>
          </p:nvSpPr>
          <p:spPr bwMode="auto">
            <a:xfrm>
              <a:off x="222" y="-3"/>
              <a:ext cx="346" cy="574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2"/>
                </a:cxn>
                <a:cxn ang="0">
                  <a:pos x="30" y="432"/>
                </a:cxn>
                <a:cxn ang="0">
                  <a:pos x="17" y="462"/>
                </a:cxn>
                <a:cxn ang="0">
                  <a:pos x="10" y="509"/>
                </a:cxn>
                <a:cxn ang="0">
                  <a:pos x="0" y="573"/>
                </a:cxn>
                <a:cxn ang="0">
                  <a:pos x="0" y="292"/>
                </a:cxn>
                <a:cxn ang="0">
                  <a:pos x="5" y="319"/>
                </a:cxn>
                <a:cxn ang="0">
                  <a:pos x="10" y="331"/>
                </a:cxn>
                <a:cxn ang="0">
                  <a:pos x="20" y="337"/>
                </a:cxn>
                <a:cxn ang="0">
                  <a:pos x="30" y="340"/>
                </a:cxn>
                <a:cxn ang="0">
                  <a:pos x="45" y="340"/>
                </a:cxn>
                <a:cxn ang="0">
                  <a:pos x="60" y="334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4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2"/>
                  </a:lnTo>
                  <a:lnTo>
                    <a:pt x="30" y="432"/>
                  </a:lnTo>
                  <a:lnTo>
                    <a:pt x="17" y="462"/>
                  </a:lnTo>
                  <a:lnTo>
                    <a:pt x="10" y="509"/>
                  </a:lnTo>
                  <a:lnTo>
                    <a:pt x="0" y="573"/>
                  </a:lnTo>
                  <a:lnTo>
                    <a:pt x="0" y="292"/>
                  </a:lnTo>
                  <a:lnTo>
                    <a:pt x="5" y="319"/>
                  </a:lnTo>
                  <a:lnTo>
                    <a:pt x="10" y="331"/>
                  </a:lnTo>
                  <a:lnTo>
                    <a:pt x="20" y="337"/>
                  </a:lnTo>
                  <a:lnTo>
                    <a:pt x="30" y="340"/>
                  </a:lnTo>
                  <a:lnTo>
                    <a:pt x="45" y="340"/>
                  </a:lnTo>
                  <a:lnTo>
                    <a:pt x="60" y="334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5" name="Freeform 27"/>
            <p:cNvSpPr>
              <a:spLocks/>
            </p:cNvSpPr>
            <p:nvPr/>
          </p:nvSpPr>
          <p:spPr bwMode="auto">
            <a:xfrm>
              <a:off x="224" y="-6"/>
              <a:ext cx="154" cy="294"/>
            </a:xfrm>
            <a:custGeom>
              <a:avLst/>
              <a:gdLst/>
              <a:ahLst/>
              <a:cxnLst>
                <a:cxn ang="0">
                  <a:pos x="153" y="3"/>
                </a:cxn>
                <a:cxn ang="0">
                  <a:pos x="50" y="122"/>
                </a:cxn>
                <a:cxn ang="0">
                  <a:pos x="30" y="152"/>
                </a:cxn>
                <a:cxn ang="0">
                  <a:pos x="17" y="182"/>
                </a:cxn>
                <a:cxn ang="0">
                  <a:pos x="10" y="229"/>
                </a:cxn>
                <a:cxn ang="0">
                  <a:pos x="0" y="293"/>
                </a:cxn>
                <a:cxn ang="0">
                  <a:pos x="0" y="12"/>
                </a:cxn>
                <a:cxn ang="0">
                  <a:pos x="5" y="39"/>
                </a:cxn>
                <a:cxn ang="0">
                  <a:pos x="10" y="51"/>
                </a:cxn>
                <a:cxn ang="0">
                  <a:pos x="20" y="57"/>
                </a:cxn>
                <a:cxn ang="0">
                  <a:pos x="30" y="60"/>
                </a:cxn>
                <a:cxn ang="0">
                  <a:pos x="45" y="60"/>
                </a:cxn>
                <a:cxn ang="0">
                  <a:pos x="60" y="54"/>
                </a:cxn>
                <a:cxn ang="0">
                  <a:pos x="110" y="0"/>
                </a:cxn>
              </a:cxnLst>
              <a:rect l="0" t="0" r="r" b="b"/>
              <a:pathLst>
                <a:path w="154" h="294">
                  <a:moveTo>
                    <a:pt x="153" y="3"/>
                  </a:moveTo>
                  <a:lnTo>
                    <a:pt x="50" y="122"/>
                  </a:lnTo>
                  <a:lnTo>
                    <a:pt x="30" y="152"/>
                  </a:lnTo>
                  <a:lnTo>
                    <a:pt x="17" y="182"/>
                  </a:lnTo>
                  <a:lnTo>
                    <a:pt x="10" y="229"/>
                  </a:lnTo>
                  <a:lnTo>
                    <a:pt x="0" y="293"/>
                  </a:lnTo>
                  <a:lnTo>
                    <a:pt x="0" y="12"/>
                  </a:lnTo>
                  <a:lnTo>
                    <a:pt x="5" y="39"/>
                  </a:lnTo>
                  <a:lnTo>
                    <a:pt x="10" y="51"/>
                  </a:lnTo>
                  <a:lnTo>
                    <a:pt x="20" y="57"/>
                  </a:lnTo>
                  <a:lnTo>
                    <a:pt x="30" y="60"/>
                  </a:lnTo>
                  <a:lnTo>
                    <a:pt x="45" y="60"/>
                  </a:lnTo>
                  <a:lnTo>
                    <a:pt x="60" y="54"/>
                  </a:lnTo>
                  <a:lnTo>
                    <a:pt x="110" y="0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6" name="Freeform 28"/>
            <p:cNvSpPr>
              <a:spLocks/>
            </p:cNvSpPr>
            <p:nvPr/>
          </p:nvSpPr>
          <p:spPr bwMode="auto">
            <a:xfrm>
              <a:off x="222" y="179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7" name="Rectangle 29"/>
            <p:cNvSpPr>
              <a:spLocks noChangeArrowheads="1"/>
            </p:cNvSpPr>
            <p:nvPr/>
          </p:nvSpPr>
          <p:spPr bwMode="auto">
            <a:xfrm>
              <a:off x="771" y="0"/>
              <a:ext cx="210" cy="4319"/>
            </a:xfrm>
            <a:prstGeom prst="rect">
              <a:avLst/>
            </a:pr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059" name="Line 30"/>
            <p:cNvSpPr>
              <a:spLocks noChangeShapeType="1"/>
            </p:cNvSpPr>
            <p:nvPr/>
          </p:nvSpPr>
          <p:spPr bwMode="auto">
            <a:xfrm>
              <a:off x="13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060" name="Line 31"/>
            <p:cNvSpPr>
              <a:spLocks noChangeShapeType="1"/>
            </p:cNvSpPr>
            <p:nvPr/>
          </p:nvSpPr>
          <p:spPr bwMode="auto">
            <a:xfrm>
              <a:off x="64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</p:grpSp>
      <p:sp>
        <p:nvSpPr>
          <p:cNvPr id="1027" name="Rectangle 32"/>
          <p:cNvSpPr>
            <a:spLocks noGrp="1" noChangeArrowheads="1"/>
          </p:cNvSpPr>
          <p:nvPr>
            <p:ph type="title"/>
          </p:nvPr>
        </p:nvSpPr>
        <p:spPr bwMode="auto">
          <a:xfrm>
            <a:off x="1500188" y="228600"/>
            <a:ext cx="74914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3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00188" y="1524000"/>
            <a:ext cx="7491412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32802" name="Rectangle 3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447800" y="6324600"/>
            <a:ext cx="14097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kumimoji="0" sz="140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  <p:sp>
        <p:nvSpPr>
          <p:cNvPr id="32803" name="Rectangle 3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33800" y="63246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kumimoji="0" sz="140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  <p:sp>
        <p:nvSpPr>
          <p:cNvPr id="32804" name="Rectangle 3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3246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kumimoji="0" sz="140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AB37292-2FFC-4ABE-8463-305D5D232D96}" type="slidenum">
              <a:rPr lang="ru-RU">
                <a:solidFill>
                  <a:srgbClr val="333300"/>
                </a:solidFill>
                <a:latin typeface="Times New Roman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6406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901" r:id="rId12"/>
  </p:sldLayoutIdLst>
  <p:transition spd="med">
    <p:strips dir="ru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l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0">
          <a:gsLst>
            <a:gs pos="0">
              <a:srgbClr val="FFFFCC"/>
            </a:gs>
            <a:gs pos="100000">
              <a:schemeClr val="accent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"/>
          <p:cNvGrpSpPr>
            <a:grpSpLocks/>
          </p:cNvGrpSpPr>
          <p:nvPr/>
        </p:nvGrpSpPr>
        <p:grpSpPr bwMode="auto">
          <a:xfrm>
            <a:off x="0" y="-9525"/>
            <a:ext cx="1557338" cy="6878638"/>
            <a:chOff x="0" y="-6"/>
            <a:chExt cx="981" cy="4333"/>
          </a:xfrm>
        </p:grpSpPr>
        <p:sp>
          <p:nvSpPr>
            <p:cNvPr id="32771" name="Rectangle 3"/>
            <p:cNvSpPr>
              <a:spLocks noChangeArrowheads="1"/>
            </p:cNvSpPr>
            <p:nvPr/>
          </p:nvSpPr>
          <p:spPr bwMode="auto">
            <a:xfrm>
              <a:off x="453" y="2151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2" name="Rectangle 4"/>
            <p:cNvSpPr>
              <a:spLocks noChangeArrowheads="1"/>
            </p:cNvSpPr>
            <p:nvPr/>
          </p:nvSpPr>
          <p:spPr bwMode="auto">
            <a:xfrm>
              <a:off x="0" y="2151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3" name="Rectangle 5"/>
            <p:cNvSpPr>
              <a:spLocks noChangeArrowheads="1"/>
            </p:cNvSpPr>
            <p:nvPr/>
          </p:nvSpPr>
          <p:spPr bwMode="auto">
            <a:xfrm>
              <a:off x="222" y="2151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4" name="Rectangle 6"/>
            <p:cNvSpPr>
              <a:spLocks noChangeArrowheads="1"/>
            </p:cNvSpPr>
            <p:nvPr/>
          </p:nvSpPr>
          <p:spPr bwMode="auto">
            <a:xfrm>
              <a:off x="567" y="2160"/>
              <a:ext cx="204" cy="2161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5" name="Freeform 7"/>
            <p:cNvSpPr>
              <a:spLocks/>
            </p:cNvSpPr>
            <p:nvPr/>
          </p:nvSpPr>
          <p:spPr bwMode="auto">
            <a:xfrm>
              <a:off x="222" y="2636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6" name="Freeform 8"/>
            <p:cNvSpPr>
              <a:spLocks/>
            </p:cNvSpPr>
            <p:nvPr/>
          </p:nvSpPr>
          <p:spPr bwMode="auto">
            <a:xfrm>
              <a:off x="222" y="2908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7" name="Freeform 9"/>
            <p:cNvSpPr>
              <a:spLocks/>
            </p:cNvSpPr>
            <p:nvPr/>
          </p:nvSpPr>
          <p:spPr bwMode="auto">
            <a:xfrm>
              <a:off x="222" y="3165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8" name="Freeform 10"/>
            <p:cNvSpPr>
              <a:spLocks/>
            </p:cNvSpPr>
            <p:nvPr/>
          </p:nvSpPr>
          <p:spPr bwMode="auto">
            <a:xfrm>
              <a:off x="222" y="3420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79" name="Freeform 11"/>
            <p:cNvSpPr>
              <a:spLocks/>
            </p:cNvSpPr>
            <p:nvPr/>
          </p:nvSpPr>
          <p:spPr bwMode="auto">
            <a:xfrm>
              <a:off x="222" y="367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0" name="Freeform 12"/>
            <p:cNvSpPr>
              <a:spLocks/>
            </p:cNvSpPr>
            <p:nvPr/>
          </p:nvSpPr>
          <p:spPr bwMode="auto">
            <a:xfrm>
              <a:off x="301" y="3932"/>
              <a:ext cx="265" cy="392"/>
            </a:xfrm>
            <a:custGeom>
              <a:avLst/>
              <a:gdLst/>
              <a:ahLst/>
              <a:cxnLst>
                <a:cxn ang="0">
                  <a:pos x="264" y="52"/>
                </a:cxn>
                <a:cxn ang="0">
                  <a:pos x="264" y="194"/>
                </a:cxn>
                <a:cxn ang="0">
                  <a:pos x="256" y="188"/>
                </a:cxn>
                <a:cxn ang="0">
                  <a:pos x="236" y="188"/>
                </a:cxn>
                <a:cxn ang="0">
                  <a:pos x="221" y="194"/>
                </a:cxn>
                <a:cxn ang="0">
                  <a:pos x="205" y="209"/>
                </a:cxn>
                <a:cxn ang="0">
                  <a:pos x="162" y="261"/>
                </a:cxn>
                <a:cxn ang="0">
                  <a:pos x="66" y="366"/>
                </a:cxn>
                <a:cxn ang="0">
                  <a:pos x="45" y="391"/>
                </a:cxn>
                <a:cxn ang="0">
                  <a:pos x="0" y="391"/>
                </a:cxn>
                <a:cxn ang="0">
                  <a:pos x="178" y="190"/>
                </a:cxn>
                <a:cxn ang="0">
                  <a:pos x="218" y="138"/>
                </a:cxn>
                <a:cxn ang="0">
                  <a:pos x="233" y="111"/>
                </a:cxn>
                <a:cxn ang="0">
                  <a:pos x="246" y="84"/>
                </a:cxn>
                <a:cxn ang="0">
                  <a:pos x="256" y="39"/>
                </a:cxn>
                <a:cxn ang="0">
                  <a:pos x="264" y="0"/>
                </a:cxn>
                <a:cxn ang="0">
                  <a:pos x="264" y="117"/>
                </a:cxn>
              </a:cxnLst>
              <a:rect l="0" t="0" r="r" b="b"/>
              <a:pathLst>
                <a:path w="265" h="392">
                  <a:moveTo>
                    <a:pt x="264" y="52"/>
                  </a:moveTo>
                  <a:lnTo>
                    <a:pt x="264" y="194"/>
                  </a:lnTo>
                  <a:lnTo>
                    <a:pt x="256" y="188"/>
                  </a:lnTo>
                  <a:lnTo>
                    <a:pt x="236" y="188"/>
                  </a:lnTo>
                  <a:lnTo>
                    <a:pt x="221" y="194"/>
                  </a:lnTo>
                  <a:lnTo>
                    <a:pt x="205" y="209"/>
                  </a:lnTo>
                  <a:lnTo>
                    <a:pt x="162" y="261"/>
                  </a:lnTo>
                  <a:lnTo>
                    <a:pt x="66" y="366"/>
                  </a:lnTo>
                  <a:lnTo>
                    <a:pt x="45" y="391"/>
                  </a:lnTo>
                  <a:lnTo>
                    <a:pt x="0" y="391"/>
                  </a:lnTo>
                  <a:lnTo>
                    <a:pt x="178" y="190"/>
                  </a:lnTo>
                  <a:lnTo>
                    <a:pt x="218" y="138"/>
                  </a:lnTo>
                  <a:lnTo>
                    <a:pt x="233" y="111"/>
                  </a:lnTo>
                  <a:lnTo>
                    <a:pt x="246" y="84"/>
                  </a:lnTo>
                  <a:lnTo>
                    <a:pt x="256" y="39"/>
                  </a:lnTo>
                  <a:lnTo>
                    <a:pt x="264" y="0"/>
                  </a:lnTo>
                  <a:lnTo>
                    <a:pt x="264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1" name="Freeform 13"/>
            <p:cNvSpPr>
              <a:spLocks/>
            </p:cNvSpPr>
            <p:nvPr/>
          </p:nvSpPr>
          <p:spPr bwMode="auto">
            <a:xfrm>
              <a:off x="222" y="2366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2" name="Freeform 14"/>
            <p:cNvSpPr>
              <a:spLocks/>
            </p:cNvSpPr>
            <p:nvPr/>
          </p:nvSpPr>
          <p:spPr bwMode="auto">
            <a:xfrm>
              <a:off x="222" y="2151"/>
              <a:ext cx="346" cy="575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3"/>
                </a:cxn>
                <a:cxn ang="0">
                  <a:pos x="30" y="433"/>
                </a:cxn>
                <a:cxn ang="0">
                  <a:pos x="17" y="463"/>
                </a:cxn>
                <a:cxn ang="0">
                  <a:pos x="10" y="510"/>
                </a:cxn>
                <a:cxn ang="0">
                  <a:pos x="0" y="574"/>
                </a:cxn>
                <a:cxn ang="0">
                  <a:pos x="0" y="293"/>
                </a:cxn>
                <a:cxn ang="0">
                  <a:pos x="5" y="320"/>
                </a:cxn>
                <a:cxn ang="0">
                  <a:pos x="10" y="332"/>
                </a:cxn>
                <a:cxn ang="0">
                  <a:pos x="20" y="338"/>
                </a:cxn>
                <a:cxn ang="0">
                  <a:pos x="30" y="341"/>
                </a:cxn>
                <a:cxn ang="0">
                  <a:pos x="45" y="341"/>
                </a:cxn>
                <a:cxn ang="0">
                  <a:pos x="60" y="335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5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3"/>
                  </a:lnTo>
                  <a:lnTo>
                    <a:pt x="30" y="433"/>
                  </a:lnTo>
                  <a:lnTo>
                    <a:pt x="17" y="463"/>
                  </a:lnTo>
                  <a:lnTo>
                    <a:pt x="10" y="510"/>
                  </a:lnTo>
                  <a:lnTo>
                    <a:pt x="0" y="574"/>
                  </a:lnTo>
                  <a:lnTo>
                    <a:pt x="0" y="293"/>
                  </a:lnTo>
                  <a:lnTo>
                    <a:pt x="5" y="320"/>
                  </a:lnTo>
                  <a:lnTo>
                    <a:pt x="10" y="332"/>
                  </a:lnTo>
                  <a:lnTo>
                    <a:pt x="20" y="338"/>
                  </a:lnTo>
                  <a:lnTo>
                    <a:pt x="30" y="341"/>
                  </a:lnTo>
                  <a:lnTo>
                    <a:pt x="45" y="341"/>
                  </a:lnTo>
                  <a:lnTo>
                    <a:pt x="60" y="335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3" name="Rectangle 15"/>
            <p:cNvSpPr>
              <a:spLocks noChangeArrowheads="1"/>
            </p:cNvSpPr>
            <p:nvPr/>
          </p:nvSpPr>
          <p:spPr bwMode="auto">
            <a:xfrm>
              <a:off x="453" y="-3"/>
              <a:ext cx="114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4" name="Rectangle 16"/>
            <p:cNvSpPr>
              <a:spLocks noChangeArrowheads="1"/>
            </p:cNvSpPr>
            <p:nvPr/>
          </p:nvSpPr>
          <p:spPr bwMode="auto">
            <a:xfrm>
              <a:off x="0" y="-3"/>
              <a:ext cx="221" cy="2170"/>
            </a:xfrm>
            <a:prstGeom prst="rect">
              <a:avLst/>
            </a:prstGeom>
            <a:gradFill rotWithShape="0">
              <a:gsLst>
                <a:gs pos="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5" name="Rectangle 17"/>
            <p:cNvSpPr>
              <a:spLocks noChangeArrowheads="1"/>
            </p:cNvSpPr>
            <p:nvPr/>
          </p:nvSpPr>
          <p:spPr bwMode="auto">
            <a:xfrm>
              <a:off x="222" y="-3"/>
              <a:ext cx="231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6" name="Rectangle 18"/>
            <p:cNvSpPr>
              <a:spLocks noChangeArrowheads="1"/>
            </p:cNvSpPr>
            <p:nvPr/>
          </p:nvSpPr>
          <p:spPr bwMode="auto">
            <a:xfrm>
              <a:off x="567" y="-3"/>
              <a:ext cx="204" cy="2170"/>
            </a:xfrm>
            <a:prstGeom prst="rect">
              <a:avLst/>
            </a:pr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100000">
                  <a:schemeClr val="accent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2075" tIns="46038" rIns="92075" bIns="46038" anchor="ctr"/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7" name="Freeform 19"/>
            <p:cNvSpPr>
              <a:spLocks/>
            </p:cNvSpPr>
            <p:nvPr/>
          </p:nvSpPr>
          <p:spPr bwMode="auto">
            <a:xfrm>
              <a:off x="222" y="497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8" name="Freeform 20"/>
            <p:cNvSpPr>
              <a:spLocks/>
            </p:cNvSpPr>
            <p:nvPr/>
          </p:nvSpPr>
          <p:spPr bwMode="auto">
            <a:xfrm>
              <a:off x="222" y="754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89" name="Freeform 21"/>
            <p:cNvSpPr>
              <a:spLocks/>
            </p:cNvSpPr>
            <p:nvPr/>
          </p:nvSpPr>
          <p:spPr bwMode="auto">
            <a:xfrm>
              <a:off x="222" y="1010"/>
              <a:ext cx="344" cy="645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5"/>
                </a:cxn>
                <a:cxn ang="0">
                  <a:pos x="50" y="473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0"/>
                </a:cxn>
                <a:cxn ang="0">
                  <a:pos x="0" y="644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5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5"/>
                  </a:lnTo>
                  <a:lnTo>
                    <a:pt x="50" y="473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0"/>
                  </a:lnTo>
                  <a:lnTo>
                    <a:pt x="0" y="644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0" name="Freeform 22"/>
            <p:cNvSpPr>
              <a:spLocks/>
            </p:cNvSpPr>
            <p:nvPr/>
          </p:nvSpPr>
          <p:spPr bwMode="auto">
            <a:xfrm>
              <a:off x="222" y="126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1" name="Freeform 23"/>
            <p:cNvSpPr>
              <a:spLocks/>
            </p:cNvSpPr>
            <p:nvPr/>
          </p:nvSpPr>
          <p:spPr bwMode="auto">
            <a:xfrm>
              <a:off x="222" y="1522"/>
              <a:ext cx="344" cy="647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1"/>
                </a:cxn>
                <a:cxn ang="0">
                  <a:pos x="146" y="366"/>
                </a:cxn>
                <a:cxn ang="0">
                  <a:pos x="50" y="475"/>
                </a:cxn>
                <a:cxn ang="0">
                  <a:pos x="30" y="505"/>
                </a:cxn>
                <a:cxn ang="0">
                  <a:pos x="17" y="535"/>
                </a:cxn>
                <a:cxn ang="0">
                  <a:pos x="10" y="582"/>
                </a:cxn>
                <a:cxn ang="0">
                  <a:pos x="0" y="646"/>
                </a:cxn>
                <a:cxn ang="0">
                  <a:pos x="0" y="365"/>
                </a:cxn>
                <a:cxn ang="0">
                  <a:pos x="5" y="392"/>
                </a:cxn>
                <a:cxn ang="0">
                  <a:pos x="10" y="404"/>
                </a:cxn>
                <a:cxn ang="0">
                  <a:pos x="20" y="410"/>
                </a:cxn>
                <a:cxn ang="0">
                  <a:pos x="30" y="413"/>
                </a:cxn>
                <a:cxn ang="0">
                  <a:pos x="45" y="413"/>
                </a:cxn>
                <a:cxn ang="0">
                  <a:pos x="60" y="407"/>
                </a:cxn>
                <a:cxn ang="0">
                  <a:pos x="257" y="190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7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1"/>
                  </a:lnTo>
                  <a:lnTo>
                    <a:pt x="146" y="366"/>
                  </a:lnTo>
                  <a:lnTo>
                    <a:pt x="50" y="475"/>
                  </a:lnTo>
                  <a:lnTo>
                    <a:pt x="30" y="505"/>
                  </a:lnTo>
                  <a:lnTo>
                    <a:pt x="17" y="535"/>
                  </a:lnTo>
                  <a:lnTo>
                    <a:pt x="10" y="582"/>
                  </a:lnTo>
                  <a:lnTo>
                    <a:pt x="0" y="646"/>
                  </a:lnTo>
                  <a:lnTo>
                    <a:pt x="0" y="365"/>
                  </a:lnTo>
                  <a:lnTo>
                    <a:pt x="5" y="392"/>
                  </a:lnTo>
                  <a:lnTo>
                    <a:pt x="10" y="404"/>
                  </a:lnTo>
                  <a:lnTo>
                    <a:pt x="20" y="410"/>
                  </a:lnTo>
                  <a:lnTo>
                    <a:pt x="30" y="413"/>
                  </a:lnTo>
                  <a:lnTo>
                    <a:pt x="45" y="413"/>
                  </a:lnTo>
                  <a:lnTo>
                    <a:pt x="60" y="407"/>
                  </a:lnTo>
                  <a:lnTo>
                    <a:pt x="257" y="190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2" name="Freeform 24"/>
            <p:cNvSpPr>
              <a:spLocks/>
            </p:cNvSpPr>
            <p:nvPr/>
          </p:nvSpPr>
          <p:spPr bwMode="auto">
            <a:xfrm>
              <a:off x="219" y="4178"/>
              <a:ext cx="349" cy="149"/>
            </a:xfrm>
            <a:custGeom>
              <a:avLst/>
              <a:gdLst/>
              <a:ahLst/>
              <a:cxnLst>
                <a:cxn ang="0">
                  <a:pos x="345" y="52"/>
                </a:cxn>
                <a:cxn ang="0">
                  <a:pos x="348" y="144"/>
                </a:cxn>
                <a:cxn ang="0">
                  <a:pos x="0" y="148"/>
                </a:cxn>
                <a:cxn ang="0">
                  <a:pos x="299" y="143"/>
                </a:cxn>
                <a:cxn ang="0">
                  <a:pos x="315" y="111"/>
                </a:cxn>
                <a:cxn ang="0">
                  <a:pos x="328" y="84"/>
                </a:cxn>
                <a:cxn ang="0">
                  <a:pos x="338" y="39"/>
                </a:cxn>
                <a:cxn ang="0">
                  <a:pos x="345" y="0"/>
                </a:cxn>
                <a:cxn ang="0">
                  <a:pos x="345" y="117"/>
                </a:cxn>
              </a:cxnLst>
              <a:rect l="0" t="0" r="r" b="b"/>
              <a:pathLst>
                <a:path w="349" h="149">
                  <a:moveTo>
                    <a:pt x="345" y="52"/>
                  </a:moveTo>
                  <a:lnTo>
                    <a:pt x="348" y="144"/>
                  </a:lnTo>
                  <a:lnTo>
                    <a:pt x="0" y="148"/>
                  </a:lnTo>
                  <a:lnTo>
                    <a:pt x="299" y="143"/>
                  </a:lnTo>
                  <a:lnTo>
                    <a:pt x="315" y="111"/>
                  </a:lnTo>
                  <a:lnTo>
                    <a:pt x="328" y="84"/>
                  </a:lnTo>
                  <a:lnTo>
                    <a:pt x="338" y="39"/>
                  </a:lnTo>
                  <a:lnTo>
                    <a:pt x="345" y="0"/>
                  </a:lnTo>
                  <a:lnTo>
                    <a:pt x="345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3" name="Freeform 25"/>
            <p:cNvSpPr>
              <a:spLocks/>
            </p:cNvSpPr>
            <p:nvPr/>
          </p:nvSpPr>
          <p:spPr bwMode="auto">
            <a:xfrm>
              <a:off x="222" y="211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4" name="Freeform 26"/>
            <p:cNvSpPr>
              <a:spLocks/>
            </p:cNvSpPr>
            <p:nvPr/>
          </p:nvSpPr>
          <p:spPr bwMode="auto">
            <a:xfrm>
              <a:off x="222" y="-3"/>
              <a:ext cx="346" cy="574"/>
            </a:xfrm>
            <a:custGeom>
              <a:avLst/>
              <a:gdLst/>
              <a:ahLst/>
              <a:cxnLst>
                <a:cxn ang="0">
                  <a:pos x="345" y="0"/>
                </a:cxn>
                <a:cxn ang="0">
                  <a:pos x="343" y="122"/>
                </a:cxn>
                <a:cxn ang="0">
                  <a:pos x="336" y="116"/>
                </a:cxn>
                <a:cxn ang="0">
                  <a:pos x="315" y="116"/>
                </a:cxn>
                <a:cxn ang="0">
                  <a:pos x="300" y="122"/>
                </a:cxn>
                <a:cxn ang="0">
                  <a:pos x="285" y="137"/>
                </a:cxn>
                <a:cxn ang="0">
                  <a:pos x="242" y="188"/>
                </a:cxn>
                <a:cxn ang="0">
                  <a:pos x="146" y="294"/>
                </a:cxn>
                <a:cxn ang="0">
                  <a:pos x="50" y="402"/>
                </a:cxn>
                <a:cxn ang="0">
                  <a:pos x="30" y="432"/>
                </a:cxn>
                <a:cxn ang="0">
                  <a:pos x="17" y="462"/>
                </a:cxn>
                <a:cxn ang="0">
                  <a:pos x="10" y="509"/>
                </a:cxn>
                <a:cxn ang="0">
                  <a:pos x="0" y="573"/>
                </a:cxn>
                <a:cxn ang="0">
                  <a:pos x="0" y="292"/>
                </a:cxn>
                <a:cxn ang="0">
                  <a:pos x="5" y="319"/>
                </a:cxn>
                <a:cxn ang="0">
                  <a:pos x="10" y="331"/>
                </a:cxn>
                <a:cxn ang="0">
                  <a:pos x="20" y="337"/>
                </a:cxn>
                <a:cxn ang="0">
                  <a:pos x="30" y="340"/>
                </a:cxn>
                <a:cxn ang="0">
                  <a:pos x="45" y="340"/>
                </a:cxn>
                <a:cxn ang="0">
                  <a:pos x="60" y="334"/>
                </a:cxn>
                <a:cxn ang="0">
                  <a:pos x="257" y="117"/>
                </a:cxn>
                <a:cxn ang="0">
                  <a:pos x="298" y="66"/>
                </a:cxn>
                <a:cxn ang="0">
                  <a:pos x="313" y="39"/>
                </a:cxn>
                <a:cxn ang="0">
                  <a:pos x="326" y="12"/>
                </a:cxn>
                <a:cxn ang="0">
                  <a:pos x="329" y="0"/>
                </a:cxn>
                <a:cxn ang="0">
                  <a:pos x="345" y="3"/>
                </a:cxn>
                <a:cxn ang="0">
                  <a:pos x="343" y="45"/>
                </a:cxn>
              </a:cxnLst>
              <a:rect l="0" t="0" r="r" b="b"/>
              <a:pathLst>
                <a:path w="346" h="574">
                  <a:moveTo>
                    <a:pt x="345" y="0"/>
                  </a:moveTo>
                  <a:lnTo>
                    <a:pt x="343" y="122"/>
                  </a:lnTo>
                  <a:lnTo>
                    <a:pt x="336" y="116"/>
                  </a:lnTo>
                  <a:lnTo>
                    <a:pt x="315" y="116"/>
                  </a:lnTo>
                  <a:lnTo>
                    <a:pt x="300" y="122"/>
                  </a:lnTo>
                  <a:lnTo>
                    <a:pt x="285" y="137"/>
                  </a:lnTo>
                  <a:lnTo>
                    <a:pt x="242" y="188"/>
                  </a:lnTo>
                  <a:lnTo>
                    <a:pt x="146" y="294"/>
                  </a:lnTo>
                  <a:lnTo>
                    <a:pt x="50" y="402"/>
                  </a:lnTo>
                  <a:lnTo>
                    <a:pt x="30" y="432"/>
                  </a:lnTo>
                  <a:lnTo>
                    <a:pt x="17" y="462"/>
                  </a:lnTo>
                  <a:lnTo>
                    <a:pt x="10" y="509"/>
                  </a:lnTo>
                  <a:lnTo>
                    <a:pt x="0" y="573"/>
                  </a:lnTo>
                  <a:lnTo>
                    <a:pt x="0" y="292"/>
                  </a:lnTo>
                  <a:lnTo>
                    <a:pt x="5" y="319"/>
                  </a:lnTo>
                  <a:lnTo>
                    <a:pt x="10" y="331"/>
                  </a:lnTo>
                  <a:lnTo>
                    <a:pt x="20" y="337"/>
                  </a:lnTo>
                  <a:lnTo>
                    <a:pt x="30" y="340"/>
                  </a:lnTo>
                  <a:lnTo>
                    <a:pt x="45" y="340"/>
                  </a:lnTo>
                  <a:lnTo>
                    <a:pt x="60" y="334"/>
                  </a:lnTo>
                  <a:lnTo>
                    <a:pt x="257" y="117"/>
                  </a:lnTo>
                  <a:lnTo>
                    <a:pt x="298" y="66"/>
                  </a:lnTo>
                  <a:lnTo>
                    <a:pt x="313" y="39"/>
                  </a:lnTo>
                  <a:lnTo>
                    <a:pt x="326" y="12"/>
                  </a:lnTo>
                  <a:lnTo>
                    <a:pt x="329" y="0"/>
                  </a:lnTo>
                  <a:lnTo>
                    <a:pt x="345" y="3"/>
                  </a:lnTo>
                  <a:lnTo>
                    <a:pt x="343" y="45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5" name="Freeform 27"/>
            <p:cNvSpPr>
              <a:spLocks/>
            </p:cNvSpPr>
            <p:nvPr/>
          </p:nvSpPr>
          <p:spPr bwMode="auto">
            <a:xfrm>
              <a:off x="224" y="-6"/>
              <a:ext cx="154" cy="294"/>
            </a:xfrm>
            <a:custGeom>
              <a:avLst/>
              <a:gdLst/>
              <a:ahLst/>
              <a:cxnLst>
                <a:cxn ang="0">
                  <a:pos x="153" y="3"/>
                </a:cxn>
                <a:cxn ang="0">
                  <a:pos x="50" y="122"/>
                </a:cxn>
                <a:cxn ang="0">
                  <a:pos x="30" y="152"/>
                </a:cxn>
                <a:cxn ang="0">
                  <a:pos x="17" y="182"/>
                </a:cxn>
                <a:cxn ang="0">
                  <a:pos x="10" y="229"/>
                </a:cxn>
                <a:cxn ang="0">
                  <a:pos x="0" y="293"/>
                </a:cxn>
                <a:cxn ang="0">
                  <a:pos x="0" y="12"/>
                </a:cxn>
                <a:cxn ang="0">
                  <a:pos x="5" y="39"/>
                </a:cxn>
                <a:cxn ang="0">
                  <a:pos x="10" y="51"/>
                </a:cxn>
                <a:cxn ang="0">
                  <a:pos x="20" y="57"/>
                </a:cxn>
                <a:cxn ang="0">
                  <a:pos x="30" y="60"/>
                </a:cxn>
                <a:cxn ang="0">
                  <a:pos x="45" y="60"/>
                </a:cxn>
                <a:cxn ang="0">
                  <a:pos x="60" y="54"/>
                </a:cxn>
                <a:cxn ang="0">
                  <a:pos x="110" y="0"/>
                </a:cxn>
              </a:cxnLst>
              <a:rect l="0" t="0" r="r" b="b"/>
              <a:pathLst>
                <a:path w="154" h="294">
                  <a:moveTo>
                    <a:pt x="153" y="3"/>
                  </a:moveTo>
                  <a:lnTo>
                    <a:pt x="50" y="122"/>
                  </a:lnTo>
                  <a:lnTo>
                    <a:pt x="30" y="152"/>
                  </a:lnTo>
                  <a:lnTo>
                    <a:pt x="17" y="182"/>
                  </a:lnTo>
                  <a:lnTo>
                    <a:pt x="10" y="229"/>
                  </a:lnTo>
                  <a:lnTo>
                    <a:pt x="0" y="293"/>
                  </a:lnTo>
                  <a:lnTo>
                    <a:pt x="0" y="12"/>
                  </a:lnTo>
                  <a:lnTo>
                    <a:pt x="5" y="39"/>
                  </a:lnTo>
                  <a:lnTo>
                    <a:pt x="10" y="51"/>
                  </a:lnTo>
                  <a:lnTo>
                    <a:pt x="20" y="57"/>
                  </a:lnTo>
                  <a:lnTo>
                    <a:pt x="30" y="60"/>
                  </a:lnTo>
                  <a:lnTo>
                    <a:pt x="45" y="60"/>
                  </a:lnTo>
                  <a:lnTo>
                    <a:pt x="60" y="54"/>
                  </a:lnTo>
                  <a:lnTo>
                    <a:pt x="110" y="0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6" name="Freeform 28"/>
            <p:cNvSpPr>
              <a:spLocks/>
            </p:cNvSpPr>
            <p:nvPr/>
          </p:nvSpPr>
          <p:spPr bwMode="auto">
            <a:xfrm>
              <a:off x="222" y="1796"/>
              <a:ext cx="344" cy="646"/>
            </a:xfrm>
            <a:custGeom>
              <a:avLst/>
              <a:gdLst/>
              <a:ahLst/>
              <a:cxnLst>
                <a:cxn ang="0">
                  <a:pos x="343" y="52"/>
                </a:cxn>
                <a:cxn ang="0">
                  <a:pos x="343" y="194"/>
                </a:cxn>
                <a:cxn ang="0">
                  <a:pos x="335" y="188"/>
                </a:cxn>
                <a:cxn ang="0">
                  <a:pos x="315" y="188"/>
                </a:cxn>
                <a:cxn ang="0">
                  <a:pos x="300" y="194"/>
                </a:cxn>
                <a:cxn ang="0">
                  <a:pos x="284" y="209"/>
                </a:cxn>
                <a:cxn ang="0">
                  <a:pos x="242" y="260"/>
                </a:cxn>
                <a:cxn ang="0">
                  <a:pos x="146" y="366"/>
                </a:cxn>
                <a:cxn ang="0">
                  <a:pos x="50" y="474"/>
                </a:cxn>
                <a:cxn ang="0">
                  <a:pos x="30" y="504"/>
                </a:cxn>
                <a:cxn ang="0">
                  <a:pos x="17" y="534"/>
                </a:cxn>
                <a:cxn ang="0">
                  <a:pos x="10" y="581"/>
                </a:cxn>
                <a:cxn ang="0">
                  <a:pos x="0" y="645"/>
                </a:cxn>
                <a:cxn ang="0">
                  <a:pos x="0" y="364"/>
                </a:cxn>
                <a:cxn ang="0">
                  <a:pos x="5" y="391"/>
                </a:cxn>
                <a:cxn ang="0">
                  <a:pos x="10" y="403"/>
                </a:cxn>
                <a:cxn ang="0">
                  <a:pos x="20" y="409"/>
                </a:cxn>
                <a:cxn ang="0">
                  <a:pos x="30" y="412"/>
                </a:cxn>
                <a:cxn ang="0">
                  <a:pos x="45" y="412"/>
                </a:cxn>
                <a:cxn ang="0">
                  <a:pos x="60" y="406"/>
                </a:cxn>
                <a:cxn ang="0">
                  <a:pos x="257" y="189"/>
                </a:cxn>
                <a:cxn ang="0">
                  <a:pos x="297" y="138"/>
                </a:cxn>
                <a:cxn ang="0">
                  <a:pos x="312" y="111"/>
                </a:cxn>
                <a:cxn ang="0">
                  <a:pos x="325" y="84"/>
                </a:cxn>
                <a:cxn ang="0">
                  <a:pos x="335" y="39"/>
                </a:cxn>
                <a:cxn ang="0">
                  <a:pos x="343" y="0"/>
                </a:cxn>
                <a:cxn ang="0">
                  <a:pos x="343" y="117"/>
                </a:cxn>
              </a:cxnLst>
              <a:rect l="0" t="0" r="r" b="b"/>
              <a:pathLst>
                <a:path w="344" h="646">
                  <a:moveTo>
                    <a:pt x="343" y="52"/>
                  </a:moveTo>
                  <a:lnTo>
                    <a:pt x="343" y="194"/>
                  </a:lnTo>
                  <a:lnTo>
                    <a:pt x="335" y="188"/>
                  </a:lnTo>
                  <a:lnTo>
                    <a:pt x="315" y="188"/>
                  </a:lnTo>
                  <a:lnTo>
                    <a:pt x="300" y="194"/>
                  </a:lnTo>
                  <a:lnTo>
                    <a:pt x="284" y="209"/>
                  </a:lnTo>
                  <a:lnTo>
                    <a:pt x="242" y="260"/>
                  </a:lnTo>
                  <a:lnTo>
                    <a:pt x="146" y="366"/>
                  </a:lnTo>
                  <a:lnTo>
                    <a:pt x="50" y="474"/>
                  </a:lnTo>
                  <a:lnTo>
                    <a:pt x="30" y="504"/>
                  </a:lnTo>
                  <a:lnTo>
                    <a:pt x="17" y="534"/>
                  </a:lnTo>
                  <a:lnTo>
                    <a:pt x="10" y="581"/>
                  </a:lnTo>
                  <a:lnTo>
                    <a:pt x="0" y="645"/>
                  </a:lnTo>
                  <a:lnTo>
                    <a:pt x="0" y="364"/>
                  </a:lnTo>
                  <a:lnTo>
                    <a:pt x="5" y="391"/>
                  </a:lnTo>
                  <a:lnTo>
                    <a:pt x="10" y="403"/>
                  </a:lnTo>
                  <a:lnTo>
                    <a:pt x="20" y="409"/>
                  </a:lnTo>
                  <a:lnTo>
                    <a:pt x="30" y="412"/>
                  </a:lnTo>
                  <a:lnTo>
                    <a:pt x="45" y="412"/>
                  </a:lnTo>
                  <a:lnTo>
                    <a:pt x="60" y="406"/>
                  </a:lnTo>
                  <a:lnTo>
                    <a:pt x="257" y="189"/>
                  </a:lnTo>
                  <a:lnTo>
                    <a:pt x="297" y="138"/>
                  </a:lnTo>
                  <a:lnTo>
                    <a:pt x="312" y="111"/>
                  </a:lnTo>
                  <a:lnTo>
                    <a:pt x="325" y="84"/>
                  </a:lnTo>
                  <a:lnTo>
                    <a:pt x="335" y="39"/>
                  </a:lnTo>
                  <a:lnTo>
                    <a:pt x="343" y="0"/>
                  </a:lnTo>
                  <a:lnTo>
                    <a:pt x="343" y="117"/>
                  </a:lnTo>
                </a:path>
              </a:pathLst>
            </a:custGeom>
            <a:gradFill rotWithShape="0">
              <a:gsLst>
                <a:gs pos="0">
                  <a:schemeClr val="accent1">
                    <a:gamma/>
                    <a:shade val="46275"/>
                    <a:invGamma/>
                  </a:schemeClr>
                </a:gs>
                <a:gs pos="50000">
                  <a:schemeClr val="accent1"/>
                </a:gs>
                <a:gs pos="100000">
                  <a:schemeClr val="accent1">
                    <a:gamma/>
                    <a:shade val="46275"/>
                    <a:invGamma/>
                  </a:schemeClr>
                </a:gs>
              </a:gsLst>
              <a:lin ang="0" scaled="1"/>
            </a:gradFill>
            <a:ln w="9525">
              <a:noFill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32797" name="Rectangle 29"/>
            <p:cNvSpPr>
              <a:spLocks noChangeArrowheads="1"/>
            </p:cNvSpPr>
            <p:nvPr/>
          </p:nvSpPr>
          <p:spPr bwMode="auto">
            <a:xfrm>
              <a:off x="771" y="0"/>
              <a:ext cx="210" cy="4319"/>
            </a:xfrm>
            <a:prstGeom prst="rect">
              <a:avLst/>
            </a:prstGeom>
            <a:gradFill rotWithShape="0">
              <a:gsLst>
                <a:gs pos="0">
                  <a:schemeClr val="bg1">
                    <a:gamma/>
                    <a:shade val="46275"/>
                    <a:invGamma/>
                  </a:schemeClr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kumimoji="1" lang="ru-RU" sz="240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059" name="Line 30"/>
            <p:cNvSpPr>
              <a:spLocks noChangeShapeType="1"/>
            </p:cNvSpPr>
            <p:nvPr/>
          </p:nvSpPr>
          <p:spPr bwMode="auto">
            <a:xfrm>
              <a:off x="13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  <p:sp>
          <p:nvSpPr>
            <p:cNvPr id="1060" name="Line 31"/>
            <p:cNvSpPr>
              <a:spLocks noChangeShapeType="1"/>
            </p:cNvSpPr>
            <p:nvPr/>
          </p:nvSpPr>
          <p:spPr bwMode="auto">
            <a:xfrm>
              <a:off x="645" y="0"/>
              <a:ext cx="0" cy="4319"/>
            </a:xfrm>
            <a:prstGeom prst="line">
              <a:avLst/>
            </a:prstGeom>
            <a:noFill/>
            <a:ln w="12700" cap="sq">
              <a:solidFill>
                <a:schemeClr val="accent1"/>
              </a:solidFill>
              <a:round/>
              <a:headEnd type="none" w="sm" len="sm"/>
              <a:tailEnd type="non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kumimoji="1" lang="ru-RU" sz="2400" smtClean="0">
                <a:solidFill>
                  <a:srgbClr val="333300"/>
                </a:solidFill>
                <a:latin typeface="Times New Roman" pitchFamily="18" charset="0"/>
                <a:cs typeface="Arial" charset="0"/>
              </a:endParaRPr>
            </a:p>
          </p:txBody>
        </p:sp>
      </p:grpSp>
      <p:sp>
        <p:nvSpPr>
          <p:cNvPr id="1027" name="Rectangle 32"/>
          <p:cNvSpPr>
            <a:spLocks noGrp="1" noChangeArrowheads="1"/>
          </p:cNvSpPr>
          <p:nvPr>
            <p:ph type="title"/>
          </p:nvPr>
        </p:nvSpPr>
        <p:spPr bwMode="auto">
          <a:xfrm>
            <a:off x="1500188" y="228600"/>
            <a:ext cx="74914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3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500188" y="1524000"/>
            <a:ext cx="7491412" cy="471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2075" tIns="46038" rIns="92075" bIns="460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32802" name="Rectangle 3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447800" y="6324600"/>
            <a:ext cx="1409700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kumimoji="0" sz="140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  <p:sp>
        <p:nvSpPr>
          <p:cNvPr id="32803" name="Rectangle 3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733800" y="63246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kumimoji="0" sz="140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  <p:sp>
        <p:nvSpPr>
          <p:cNvPr id="32804" name="Rectangle 3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63246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kumimoji="0" sz="1400"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CA635D3-6C7A-4AD7-8D60-54722DEB811C}" type="slidenum">
              <a:rPr lang="ru-RU">
                <a:solidFill>
                  <a:srgbClr val="333300"/>
                </a:solidFill>
                <a:latin typeface="Times New Roman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1718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</p:sldLayoutIdLst>
  <p:transition spd="med">
    <p:strips dir="ru"/>
  </p:transition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l"/>
        <a:defRPr sz="3200" b="1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800" b="1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400" b="1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–"/>
        <a:defRPr sz="2000" b="1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Char char="•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6002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7" y="6356350"/>
            <a:ext cx="2085975" cy="365125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5" y="6356350"/>
            <a:ext cx="2847975" cy="365125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8" y="6356350"/>
            <a:ext cx="561975" cy="365125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D42B57E-34BC-4134-BD7D-08907F0C8621}" type="slidenum">
              <a:rPr lang="ru-RU" smtClean="0">
                <a:solidFill>
                  <a:srgbClr val="333300"/>
                </a:solidFill>
                <a:latin typeface="Times New Roman" pitchFamily="18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333300"/>
              </a:solidFill>
              <a:latin typeface="Times New Roman" pitchFamily="18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8457760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6499384"/>
            <a:ext cx="84772" cy="84772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9" r:id="rId1"/>
    <p:sldLayoutId id="2147483890" r:id="rId2"/>
    <p:sldLayoutId id="2147483891" r:id="rId3"/>
    <p:sldLayoutId id="2147483892" r:id="rId4"/>
    <p:sldLayoutId id="2147483893" r:id="rId5"/>
    <p:sldLayoutId id="2147483894" r:id="rId6"/>
    <p:sldLayoutId id="2147483895" r:id="rId7"/>
    <p:sldLayoutId id="2147483896" r:id="rId8"/>
    <p:sldLayoutId id="2147483897" r:id="rId9"/>
    <p:sldLayoutId id="2147483898" r:id="rId10"/>
    <p:sldLayoutId id="2147483899" r:id="rId11"/>
  </p:sldLayoutIdLst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411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  <p:sldLayoutId id="2147483914" r:id="rId12"/>
    <p:sldLayoutId id="2147483915" r:id="rId13"/>
    <p:sldLayoutId id="2147483916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9128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  <p:sldLayoutId id="2147483925" r:id="rId8"/>
    <p:sldLayoutId id="2147483926" r:id="rId9"/>
    <p:sldLayoutId id="2147483927" r:id="rId10"/>
    <p:sldLayoutId id="2147483928" r:id="rId11"/>
    <p:sldLayoutId id="2147483929" r:id="rId12"/>
    <p:sldLayoutId id="2147483930" r:id="rId13"/>
    <p:sldLayoutId id="2147483931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5143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  <p:sldLayoutId id="2147483946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808523F2-53FE-42F4-86B8-4598D2998874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09.11.20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800"/>
            <a:fld id="{D1697463-1C33-49B9-B1AC-991EFB90EE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76711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9" r:id="rId2"/>
    <p:sldLayoutId id="2147483950" r:id="rId3"/>
    <p:sldLayoutId id="2147483951" r:id="rId4"/>
    <p:sldLayoutId id="2147483952" r:id="rId5"/>
    <p:sldLayoutId id="2147483953" r:id="rId6"/>
    <p:sldLayoutId id="2147483954" r:id="rId7"/>
    <p:sldLayoutId id="2147483955" r:id="rId8"/>
    <p:sldLayoutId id="2147483956" r:id="rId9"/>
    <p:sldLayoutId id="2147483957" r:id="rId10"/>
    <p:sldLayoutId id="2147483958" r:id="rId11"/>
    <p:sldLayoutId id="2147483959" r:id="rId12"/>
    <p:sldLayoutId id="2147483960" r:id="rId13"/>
    <p:sldLayoutId id="2147483961" r:id="rId14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hyperlink" Target="https://fipi.ru/" TargetMode="External"/><Relationship Id="rId1" Type="http://schemas.openxmlformats.org/officeDocument/2006/relationships/slideLayout" Target="../slideLayouts/slideLayout36.xml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3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hyperlink" Target="https://statgrad.org/" TargetMode="External"/><Relationship Id="rId1" Type="http://schemas.openxmlformats.org/officeDocument/2006/relationships/slideLayout" Target="../slideLayouts/slideLayout2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statgrad.org/" TargetMode="External"/><Relationship Id="rId2" Type="http://schemas.openxmlformats.org/officeDocument/2006/relationships/hyperlink" Target="http://www.fipi.ru/" TargetMode="Externa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7.png"/><Relationship Id="rId17" Type="http://schemas.openxmlformats.org/officeDocument/2006/relationships/image" Target="../media/image32.jpg"/><Relationship Id="rId2" Type="http://schemas.openxmlformats.org/officeDocument/2006/relationships/hyperlink" Target="https://shop.prosv.ru/search?q=%D0%A0%D0%BE%D1%81%D0%BB%D0%BE%D0%B2%D0%B0#/orderby=5&amp;q=%D0%A0%D0%BE%D1%81%D0%BB%D0%BE%D0%B2%D0%B0&amp;sFilters=21!56334;4!2304;13!81288;?utm_source=uchitel.club&amp;utm_medium=webinar&amp;utm_campaign=pisa_mat_gram_12_08" TargetMode="External"/><Relationship Id="rId16" Type="http://schemas.openxmlformats.org/officeDocument/2006/relationships/image" Target="../media/image31.png"/><Relationship Id="rId20" Type="http://schemas.openxmlformats.org/officeDocument/2006/relationships/image" Target="../media/image35.jpg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22.png"/><Relationship Id="rId11" Type="http://schemas.openxmlformats.org/officeDocument/2006/relationships/image" Target="../media/image26.jpg"/><Relationship Id="rId5" Type="http://schemas.openxmlformats.org/officeDocument/2006/relationships/image" Target="../media/image21.png"/><Relationship Id="rId15" Type="http://schemas.openxmlformats.org/officeDocument/2006/relationships/image" Target="../media/image30.jpg"/><Relationship Id="rId10" Type="http://schemas.openxmlformats.org/officeDocument/2006/relationships/image" Target="../media/image25.png"/><Relationship Id="rId19" Type="http://schemas.openxmlformats.org/officeDocument/2006/relationships/image" Target="../media/image34.jpg"/><Relationship Id="rId4" Type="http://schemas.openxmlformats.org/officeDocument/2006/relationships/image" Target="../media/image20.png"/><Relationship Id="rId9" Type="http://schemas.openxmlformats.org/officeDocument/2006/relationships/hyperlink" Target="https://shop.prosv.ru/search?q=%D0%A1%D0%B5%D1%80%D0%B3%D0%B5%D0%B5%D0%B2%D0%B0#/orderby=5&amp;q=%D0%A1%D0%B5%D1%80%D0%B3%D0%B5%D0%B5%D0%B2%D0%B0&amp;sFilters=13!67611;?utm_source=uchitel.club&amp;utm_medium=webinar&amp;utm_campaign=pisa_mat_gram_11_08" TargetMode="External"/><Relationship Id="rId14" Type="http://schemas.openxmlformats.org/officeDocument/2006/relationships/image" Target="../media/image29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30.jpg"/><Relationship Id="rId18" Type="http://schemas.openxmlformats.org/officeDocument/2006/relationships/image" Target="../media/image34.jpg"/><Relationship Id="rId3" Type="http://schemas.openxmlformats.org/officeDocument/2006/relationships/image" Target="../media/image37.png"/><Relationship Id="rId7" Type="http://schemas.openxmlformats.org/officeDocument/2006/relationships/image" Target="../media/image21.png"/><Relationship Id="rId12" Type="http://schemas.openxmlformats.org/officeDocument/2006/relationships/image" Target="../media/image39.png"/><Relationship Id="rId17" Type="http://schemas.openxmlformats.org/officeDocument/2006/relationships/image" Target="../media/image33.png"/><Relationship Id="rId2" Type="http://schemas.openxmlformats.org/officeDocument/2006/relationships/image" Target="../media/image36.jpg"/><Relationship Id="rId16" Type="http://schemas.openxmlformats.org/officeDocument/2006/relationships/image" Target="../media/image41.jpg"/><Relationship Id="rId1" Type="http://schemas.openxmlformats.org/officeDocument/2006/relationships/slideLayout" Target="../slideLayouts/slideLayout73.xml"/><Relationship Id="rId6" Type="http://schemas.openxmlformats.org/officeDocument/2006/relationships/image" Target="../media/image20.png"/><Relationship Id="rId11" Type="http://schemas.openxmlformats.org/officeDocument/2006/relationships/image" Target="../media/image38.jpg"/><Relationship Id="rId5" Type="http://schemas.openxmlformats.org/officeDocument/2006/relationships/image" Target="../media/image19.png"/><Relationship Id="rId15" Type="http://schemas.openxmlformats.org/officeDocument/2006/relationships/image" Target="../media/image32.jpg"/><Relationship Id="rId10" Type="http://schemas.openxmlformats.org/officeDocument/2006/relationships/image" Target="../media/image24.png"/><Relationship Id="rId19" Type="http://schemas.openxmlformats.org/officeDocument/2006/relationships/hyperlink" Target="https://shop.prosv.ru/search?q=%D0%A0%D0%BE%D1%81%D0%BB%D0%BE%D0%B2%D0%B0#/orderby=5&amp;q=%D0%A0%D0%BE%D1%81%D0%BB%D0%BE%D0%B2%D0%B0&amp;sFilters=21!56334;4!2304;13!81288;?utm_source=uchitel.club&amp;utm_medium=webinar&amp;utm_campaign=pisa_mat_gram_12_08" TargetMode="External"/><Relationship Id="rId4" Type="http://schemas.openxmlformats.org/officeDocument/2006/relationships/image" Target="../media/image35.jpg"/><Relationship Id="rId9" Type="http://schemas.openxmlformats.org/officeDocument/2006/relationships/image" Target="../media/image23.png"/><Relationship Id="rId14" Type="http://schemas.openxmlformats.org/officeDocument/2006/relationships/image" Target="../media/image40.jp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hyperlink" Target="http://wiki.vladimir.i-edu.ru/" TargetMode="External"/><Relationship Id="rId1" Type="http://schemas.openxmlformats.org/officeDocument/2006/relationships/slideLayout" Target="../slideLayouts/slideLayout87.xml"/><Relationship Id="rId4" Type="http://schemas.openxmlformats.org/officeDocument/2006/relationships/image" Target="../media/image43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6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hyperlink" Target="http://wiki.vladimir.i-edu.ru/index.php?title=&#1050;&#1086;&#1085;&#1082;&#1091;&#1088;&#1089;_&#1056;&#1077;&#1096;&#1077;&#1085;&#1080;&#1077;_&#1079;&#1072;&#1076;&#1072;&#1095;_&#1087;&#1086;&#1074;&#1099;&#1096;&#1077;&#1085;&#1085;&#1086;&#1081;_&#1089;&#1083;&#1086;&#1078;&#1085;&#1086;&#1089;&#1090;&#1080;" TargetMode="Externa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980729"/>
            <a:ext cx="7772400" cy="4032447"/>
          </a:xfrm>
        </p:spPr>
        <p:txBody>
          <a:bodyPr>
            <a:normAutofit fontScale="90000"/>
          </a:bodyPr>
          <a:lstStyle/>
          <a:p>
            <a:pPr>
              <a:lnSpc>
                <a:spcPct val="115000"/>
              </a:lnSpc>
              <a:spcAft>
                <a:spcPts val="1000"/>
              </a:spcAft>
            </a:pPr>
            <a:r>
              <a:rPr lang="en-US" sz="5400" b="1" i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br>
              <a:rPr lang="en-US" sz="5400" b="1" i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5400" b="1" i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en-US" sz="5400" b="1" i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2000" dirty="0">
                <a:effectLst/>
                <a:latin typeface="Calibri"/>
                <a:ea typeface="Calibri"/>
                <a:cs typeface="Times New Roman"/>
              </a:rPr>
              <a:t/>
            </a:r>
            <a:br>
              <a:rPr lang="ru-RU" sz="2000" dirty="0">
                <a:effectLst/>
                <a:latin typeface="Calibri"/>
                <a:ea typeface="Calibri"/>
                <a:cs typeface="Times New Roman"/>
              </a:rPr>
            </a:br>
            <a:r>
              <a:rPr lang="ru-RU" sz="2800" b="1" i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ru-RU" sz="2800" b="1" i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2800" b="1" i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ru-RU" sz="2800" b="1" i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2800" b="1" i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ru-RU" sz="2800" b="1" i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2800" b="1" i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ru-RU" sz="2800" b="1" i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2800" b="1" i="1" dirty="0" smtClean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en-US" sz="2800" b="1" i="1" dirty="0" smtClean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4000" b="1" dirty="0" smtClean="0">
                <a:solidFill>
                  <a:schemeClr val="tx2">
                    <a:lumMod val="75000"/>
                  </a:schemeClr>
                </a:solidFill>
                <a:latin typeface="Arial Black" panose="020B0A04020102020204" pitchFamily="34" charset="0"/>
              </a:rPr>
              <a:t>РЕКОМЕНДАЦИИ</a:t>
            </a:r>
            <a:r>
              <a:rPr lang="en-US" sz="4000" b="1" i="1" dirty="0">
                <a:solidFill>
                  <a:schemeClr val="accent5">
                    <a:lumMod val="75000"/>
                  </a:schemeClr>
                </a:solidFill>
              </a:rPr>
              <a:t/>
            </a:r>
            <a:br>
              <a:rPr lang="en-US" sz="4000" b="1" i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4000" b="1" dirty="0" smtClean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>по подготовке </a:t>
            </a:r>
            <a:r>
              <a:rPr lang="ru-RU" sz="4000" b="1" dirty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>обучающихся </a:t>
            </a:r>
            <a:r>
              <a:rPr lang="ru-RU" sz="4000" b="1" dirty="0" smtClean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/>
            </a:r>
            <a:br>
              <a:rPr lang="ru-RU" sz="4000" b="1" dirty="0" smtClean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</a:br>
            <a:r>
              <a:rPr lang="ru-RU" sz="4000" b="1" dirty="0" smtClean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>к ГИА </a:t>
            </a:r>
            <a:r>
              <a:rPr lang="ru-RU" sz="4000" b="1" dirty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>по </a:t>
            </a:r>
            <a:r>
              <a:rPr lang="ru-RU" sz="4000" b="1" dirty="0" smtClean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>математике </a:t>
            </a:r>
            <a:br>
              <a:rPr lang="ru-RU" sz="4000" b="1" dirty="0" smtClean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</a:br>
            <a:r>
              <a:rPr lang="ru-RU" sz="4000" b="1" dirty="0" smtClean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>в 2021-2022 </a:t>
            </a:r>
            <a:r>
              <a:rPr lang="ru-RU" sz="4000" b="1" dirty="0" err="1" smtClean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>уч.г</a:t>
            </a:r>
            <a:r>
              <a:rPr lang="ru-RU" sz="4000" b="1" dirty="0" smtClean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>.</a:t>
            </a:r>
            <a:r>
              <a:rPr lang="ru-RU" sz="4000" b="1" dirty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  <a:t/>
            </a:r>
            <a:br>
              <a:rPr lang="ru-RU" sz="4000" b="1" dirty="0">
                <a:solidFill>
                  <a:srgbClr val="6076B4">
                    <a:lumMod val="75000"/>
                  </a:srgbClr>
                </a:solidFill>
                <a:latin typeface="Arial Black" pitchFamily="34" charset="0"/>
                <a:cs typeface="Arial" pitchFamily="34" charset="0"/>
              </a:rPr>
            </a:br>
            <a:endParaRPr lang="ru-RU" sz="4000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644008" y="5229200"/>
            <a:ext cx="4032448" cy="1152128"/>
          </a:xfrm>
        </p:spPr>
        <p:txBody>
          <a:bodyPr>
            <a:normAutofit fontScale="25000" lnSpcReduction="20000"/>
          </a:bodyPr>
          <a:lstStyle/>
          <a:p>
            <a:pPr algn="r">
              <a:lnSpc>
                <a:spcPct val="120000"/>
              </a:lnSpc>
              <a:spcBef>
                <a:spcPts val="0"/>
              </a:spcBef>
            </a:pPr>
            <a:r>
              <a:rPr lang="ru-RU" sz="6400" b="1" i="1" dirty="0">
                <a:solidFill>
                  <a:schemeClr val="accent2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Антонова Елена Ивановна,</a:t>
            </a:r>
            <a:r>
              <a:rPr lang="ru-RU" sz="6400" b="1" i="1" dirty="0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 </a:t>
            </a:r>
            <a:br>
              <a:rPr lang="ru-RU" sz="6400" b="1" i="1" dirty="0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</a:br>
            <a:r>
              <a:rPr lang="ru-RU" sz="4800" b="1" dirty="0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зав.  кафедрой </a:t>
            </a:r>
            <a:endParaRPr lang="ru-RU" sz="4800" b="1" dirty="0" smtClean="0">
              <a:solidFill>
                <a:schemeClr val="accent1">
                  <a:lumMod val="75000"/>
                </a:schemeClr>
              </a:solidFill>
              <a:latin typeface="Arial Black" pitchFamily="34" charset="0"/>
              <a:ea typeface="+mj-ea"/>
              <a:cs typeface="Arial" pitchFamily="34" charset="0"/>
            </a:endParaRPr>
          </a:p>
          <a:p>
            <a:pPr algn="r">
              <a:lnSpc>
                <a:spcPct val="120000"/>
              </a:lnSpc>
              <a:spcBef>
                <a:spcPts val="0"/>
              </a:spcBef>
            </a:pPr>
            <a:r>
              <a:rPr lang="ru-RU" sz="4800" b="1" dirty="0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е</a:t>
            </a:r>
            <a:r>
              <a:rPr lang="ru-RU" sz="4800" b="1" dirty="0" smtClean="0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стественно - </a:t>
            </a:r>
            <a:r>
              <a:rPr lang="ru-RU" sz="4800" b="1" dirty="0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математического образования  </a:t>
            </a:r>
            <a:endParaRPr lang="ru-RU" sz="4800" b="1" dirty="0" smtClean="0">
              <a:solidFill>
                <a:schemeClr val="accent1">
                  <a:lumMod val="75000"/>
                </a:schemeClr>
              </a:solidFill>
              <a:latin typeface="Arial Black" pitchFamily="34" charset="0"/>
              <a:ea typeface="+mj-ea"/>
              <a:cs typeface="Arial" pitchFamily="34" charset="0"/>
            </a:endParaRPr>
          </a:p>
          <a:p>
            <a:pPr algn="r">
              <a:lnSpc>
                <a:spcPct val="120000"/>
              </a:lnSpc>
              <a:spcBef>
                <a:spcPts val="0"/>
              </a:spcBef>
            </a:pPr>
            <a:r>
              <a:rPr lang="ru-RU" sz="4800" b="1" dirty="0" smtClean="0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ГАОУДПО </a:t>
            </a:r>
            <a:r>
              <a:rPr lang="ru-RU" sz="4800" b="1" dirty="0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ВО ВИРО, </a:t>
            </a:r>
            <a:r>
              <a:rPr lang="ru-RU" sz="4800" b="1" i="1" dirty="0" err="1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к.п.н</a:t>
            </a:r>
            <a:r>
              <a:rPr lang="ru-RU" sz="4800" b="1" i="1" dirty="0">
                <a:solidFill>
                  <a:schemeClr val="accent1">
                    <a:lumMod val="75000"/>
                  </a:schemeClr>
                </a:solidFill>
                <a:latin typeface="Arial Black" pitchFamily="34" charset="0"/>
                <a:ea typeface="+mj-ea"/>
                <a:cs typeface="Arial" pitchFamily="34" charset="0"/>
              </a:rPr>
              <a:t>.</a:t>
            </a:r>
            <a:r>
              <a:rPr lang="en-US" sz="4800" b="1" i="1" dirty="0">
                <a:solidFill>
                  <a:schemeClr val="accent1">
                    <a:lumMod val="75000"/>
                  </a:scheme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 Black" pitchFamily="34" charset="0"/>
                <a:ea typeface="+mj-ea"/>
                <a:cs typeface="Arial" pitchFamily="34" charset="0"/>
              </a:rPr>
              <a:t/>
            </a:r>
            <a:br>
              <a:rPr lang="en-US" sz="4800" b="1" i="1" dirty="0">
                <a:solidFill>
                  <a:schemeClr val="accent1">
                    <a:lumMod val="75000"/>
                  </a:scheme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 Black" pitchFamily="34" charset="0"/>
                <a:ea typeface="+mj-ea"/>
                <a:cs typeface="Arial" pitchFamily="34" charset="0"/>
              </a:rPr>
            </a:br>
            <a:r>
              <a:rPr lang="ru-RU" sz="6400" b="1" i="1" dirty="0">
                <a:solidFill>
                  <a:srgbClr val="2F5897">
                    <a:lumMod val="75000"/>
                  </a:srgbClr>
                </a:solidFill>
                <a:latin typeface="Arial Black" pitchFamily="34" charset="0"/>
                <a:ea typeface="+mj-ea"/>
                <a:cs typeface="+mj-cs"/>
              </a:rPr>
              <a:t/>
            </a:r>
            <a:br>
              <a:rPr lang="ru-RU" sz="6400" b="1" i="1" dirty="0">
                <a:solidFill>
                  <a:srgbClr val="2F5897">
                    <a:lumMod val="75000"/>
                  </a:srgbClr>
                </a:solidFill>
                <a:latin typeface="Arial Black" pitchFamily="34" charset="0"/>
                <a:ea typeface="+mj-ea"/>
                <a:cs typeface="+mj-cs"/>
              </a:rPr>
            </a:br>
            <a:endParaRPr lang="ru-RU" sz="6400" b="1" dirty="0">
              <a:solidFill>
                <a:schemeClr val="tx2">
                  <a:lumMod val="75000"/>
                </a:schemeClr>
              </a:solidFill>
              <a:latin typeface="Arial Black" pitchFamily="34" charset="0"/>
            </a:endParaRPr>
          </a:p>
          <a:p>
            <a:endParaRPr lang="ru-RU" sz="2000" dirty="0">
              <a:solidFill>
                <a:schemeClr val="accent1">
                  <a:lumMod val="75000"/>
                </a:schemeClr>
              </a:solidFill>
              <a:latin typeface="Arial Black" pitchFamily="34" charset="0"/>
            </a:endParaRPr>
          </a:p>
          <a:p>
            <a:endParaRPr lang="ru-RU" dirty="0">
              <a:latin typeface="Arial Black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79980"/>
            <a:ext cx="1152128" cy="1088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" descr="C:\Users\korsh624.VIRO\Desktop\deport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9" y="116633"/>
            <a:ext cx="1296144" cy="1368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11944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4920"/>
            <a:ext cx="9144000" cy="6892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1196901"/>
      </p:ext>
    </p:extLst>
  </p:cSld>
  <p:clrMapOvr>
    <a:masterClrMapping/>
  </p:clrMapOvr>
  <p:transition spd="med">
    <p:strips dir="ru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-1"/>
            <a:ext cx="8964488" cy="1765005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6632"/>
            <a:ext cx="1440160" cy="11876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 descr="C:\Users\aei\Desktop\ЕМО мониторинг+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0773" y="0"/>
            <a:ext cx="7344816" cy="848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32631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ОНИТОРИНГ </a:t>
            </a: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АЧЕСТВА ОБРАЗОВАТЕЛЬНОЙ ПОДГОТОВКИ ОБУЧАЮЩИХСЯ </a:t>
            </a:r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9 </a:t>
            </a:r>
            <a:r>
              <a:rPr lang="ru-RU" sz="2400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И 11 КЛАССОВ ПО </a:t>
            </a:r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АТЕМАТИКЕ в 2021 году</a:t>
            </a:r>
            <a:r>
              <a:rPr lang="ru-RU" sz="2400" b="1" dirty="0">
                <a:latin typeface="Arial" pitchFamily="34" charset="0"/>
                <a:cs typeface="Arial" pitchFamily="34" charset="0"/>
              </a:rPr>
              <a:t/>
            </a:r>
            <a:br>
              <a:rPr lang="ru-RU" sz="2400" b="1" dirty="0">
                <a:latin typeface="Arial" pitchFamily="34" charset="0"/>
                <a:cs typeface="Arial" pitchFamily="34" charset="0"/>
              </a:rPr>
            </a:b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925144"/>
          </a:xfrm>
        </p:spPr>
        <p:txBody>
          <a:bodyPr>
            <a:normAutofit fontScale="70000" lnSpcReduction="20000"/>
          </a:bodyPr>
          <a:lstStyle/>
          <a:p>
            <a:pPr marL="0" lvl="0" indent="0" algn="just">
              <a:buNone/>
            </a:pPr>
            <a:r>
              <a:rPr lang="ru-RU" sz="2300" dirty="0">
                <a:solidFill>
                  <a:srgbClr val="9C5252">
                    <a:lumMod val="75000"/>
                  </a:srgb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Мониторинг организуется кафедрой естественно-математического образования ГАОУДПО ВО ВИРО совместно с департаментом образования </a:t>
            </a:r>
            <a:r>
              <a:rPr lang="ru-RU" sz="2300" dirty="0" smtClean="0">
                <a:solidFill>
                  <a:srgbClr val="9C5252">
                    <a:lumMod val="75000"/>
                  </a:srgb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Владимирской </a:t>
            </a:r>
            <a:r>
              <a:rPr lang="ru-RU" sz="2300" dirty="0">
                <a:solidFill>
                  <a:srgbClr val="9C5252">
                    <a:lumMod val="75000"/>
                  </a:srgb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области. Проводится на базе образовательных организаций региона. </a:t>
            </a:r>
          </a:p>
          <a:p>
            <a:pPr marL="0" lvl="0" indent="0" algn="ctr">
              <a:buNone/>
            </a:pPr>
            <a:r>
              <a:rPr lang="ru-RU" sz="2300" u="sng" dirty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Сроки проведения диагностических работ</a:t>
            </a:r>
            <a:r>
              <a:rPr lang="ru-RU" sz="2300" dirty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: </a:t>
            </a:r>
            <a:endParaRPr lang="ru-RU" sz="2300" dirty="0" smtClean="0">
              <a:solidFill>
                <a:schemeClr val="tx2">
                  <a:lumMod val="75000"/>
                </a:schemeClr>
              </a:solidFill>
              <a:effectLst>
                <a:outerShdw blurRad="63500" dist="38100" dir="5400000" algn="t" rotWithShape="0">
                  <a:prstClr val="black">
                    <a:alpha val="25000"/>
                  </a:prst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marL="0" lvl="0" indent="0" algn="ctr">
              <a:buNone/>
            </a:pPr>
            <a:r>
              <a:rPr lang="ru-RU" sz="2300" dirty="0" smtClean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11 </a:t>
            </a:r>
            <a:r>
              <a:rPr lang="ru-RU" sz="2300" dirty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класс – </a:t>
            </a:r>
            <a:r>
              <a:rPr lang="ru-RU" sz="2300" dirty="0" smtClean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11 марта 2021 года </a:t>
            </a:r>
            <a:r>
              <a:rPr lang="ru-RU" sz="2300" dirty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(базовый </a:t>
            </a:r>
            <a:r>
              <a:rPr lang="ru-RU" sz="2300" dirty="0" smtClean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и профильный уровни)</a:t>
            </a:r>
            <a:endParaRPr lang="ru-RU" sz="2300" dirty="0">
              <a:solidFill>
                <a:schemeClr val="tx2">
                  <a:lumMod val="75000"/>
                </a:schemeClr>
              </a:solidFill>
              <a:effectLst>
                <a:outerShdw blurRad="63500" dist="38100" dir="5400000" algn="t" rotWithShape="0">
                  <a:prstClr val="black">
                    <a:alpha val="25000"/>
                  </a:prst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marL="0" lvl="0" indent="0" algn="ctr">
              <a:buNone/>
            </a:pPr>
            <a:r>
              <a:rPr lang="ru-RU" sz="2300" dirty="0">
                <a:solidFill>
                  <a:srgbClr val="2F5897">
                    <a:lumMod val="75000"/>
                  </a:srgb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9 класс – </a:t>
            </a:r>
            <a:r>
              <a:rPr lang="ru-RU" sz="2300" dirty="0" smtClean="0">
                <a:solidFill>
                  <a:srgbClr val="2F5897">
                    <a:lumMod val="75000"/>
                  </a:srgb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4 </a:t>
            </a:r>
            <a:r>
              <a:rPr lang="ru-RU" sz="2300" dirty="0">
                <a:solidFill>
                  <a:srgbClr val="2F5897">
                    <a:lumMod val="75000"/>
                  </a:srgb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марта </a:t>
            </a:r>
            <a:r>
              <a:rPr lang="ru-RU" sz="2300" dirty="0" smtClean="0">
                <a:solidFill>
                  <a:srgbClr val="2F5897">
                    <a:lumMod val="75000"/>
                  </a:srgb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2021 </a:t>
            </a:r>
            <a:r>
              <a:rPr lang="ru-RU" sz="2300" dirty="0">
                <a:solidFill>
                  <a:srgbClr val="2F5897">
                    <a:lumMod val="75000"/>
                  </a:srgbClr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itchFamily="34" charset="0"/>
                <a:cs typeface="Arial" pitchFamily="34" charset="0"/>
              </a:rPr>
              <a:t>года </a:t>
            </a:r>
          </a:p>
          <a:p>
            <a:pPr marL="0" lvl="0" indent="0" algn="just">
              <a:buNone/>
            </a:pPr>
            <a:endParaRPr lang="ru-RU" sz="2100" b="1" i="1" dirty="0" smtClean="0">
              <a:solidFill>
                <a:schemeClr val="tx2">
                  <a:lumMod val="75000"/>
                </a:schemeClr>
              </a:solidFill>
              <a:effectLst>
                <a:outerShdw blurRad="63500" dist="38100" dir="5400000" algn="t">
                  <a:srgbClr val="000000">
                    <a:alpha val="25000"/>
                  </a:srgbClr>
                </a:outerShdw>
              </a:effectLst>
              <a:latin typeface="Arial" pitchFamily="34" charset="0"/>
              <a:ea typeface="+mj-ea"/>
              <a:cs typeface="Arial" pitchFamily="34" charset="0"/>
            </a:endParaRPr>
          </a:p>
          <a:p>
            <a:pPr lvl="0" algn="just">
              <a:buFont typeface="Symbol"/>
              <a:buChar char=""/>
            </a:pPr>
            <a:r>
              <a:rPr lang="ru-RU" sz="2000" b="1" i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j-ea"/>
                <a:cs typeface="Arial" pitchFamily="34" charset="0"/>
              </a:rPr>
              <a:t>Письмо</a:t>
            </a:r>
            <a:r>
              <a:rPr lang="ru-RU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>
                    <a:srgbClr val="000000">
                      <a:alpha val="25000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rPr>
              <a:t> ДО 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>
                    <a:srgbClr val="000000">
                      <a:alpha val="25000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rPr>
              <a:t>«</a:t>
            </a:r>
            <a:r>
              <a:rPr lang="ru-RU" sz="2000" b="1" dirty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>
                    <a:srgbClr val="000000">
                      <a:alpha val="2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О проведении мониторинга качества образовательной подготовки обучающихся 9 и 11 классов по 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>
                    <a:srgbClr val="000000">
                      <a:alpha val="2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математике»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>
                    <a:srgbClr val="000000">
                      <a:alpha val="25000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ru-RU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63500" dist="38100" dir="5400000" algn="t">
                    <a:srgbClr val="000000">
                      <a:alpha val="2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(</a:t>
            </a:r>
            <a:r>
              <a:rPr lang="ru-RU" sz="2000" b="1" i="1" dirty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Письмо ДО </a:t>
            </a:r>
            <a:r>
              <a:rPr lang="ru-RU" sz="2000" b="1" i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№</a:t>
            </a:r>
            <a:r>
              <a:rPr lang="en-US" sz="2000" b="1" i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755</a:t>
            </a:r>
            <a:r>
              <a:rPr lang="ru-RU" sz="2000" b="1" i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 </a:t>
            </a:r>
            <a:r>
              <a:rPr lang="ru-RU" sz="2000" b="1" i="1" dirty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-02-07  от </a:t>
            </a:r>
            <a:r>
              <a:rPr lang="en-US" sz="2000" b="1" i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01</a:t>
            </a:r>
            <a:r>
              <a:rPr lang="ru-RU" sz="2000" b="1" i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.0</a:t>
            </a:r>
            <a:r>
              <a:rPr lang="en-US" sz="2000" b="1" i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2</a:t>
            </a:r>
            <a:r>
              <a:rPr lang="ru-RU" sz="2000" b="1" i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.20</a:t>
            </a:r>
            <a:r>
              <a:rPr lang="en-US" sz="2000" b="1" i="1" dirty="0" smtClean="0">
                <a:solidFill>
                  <a:schemeClr val="accent2">
                    <a:lumMod val="50000"/>
                  </a:schemeClr>
                </a:solidFill>
                <a:latin typeface="Arial" pitchFamily="34" charset="0"/>
                <a:ea typeface="Times New Roman"/>
                <a:cs typeface="Arial" pitchFamily="34" charset="0"/>
              </a:rPr>
              <a:t>21</a:t>
            </a:r>
            <a:r>
              <a:rPr lang="ru-RU" sz="2000" b="1" i="1" dirty="0" smtClean="0">
                <a:solidFill>
                  <a:schemeClr val="accent2">
                    <a:lumMod val="50000"/>
                  </a:schemeClr>
                </a:solidFill>
                <a:effectLst>
                  <a:outerShdw blurRad="63500" dist="38100" dir="5400000" algn="t">
                    <a:srgbClr val="000000">
                      <a:alpha val="25000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)</a:t>
            </a:r>
          </a:p>
          <a:p>
            <a:pPr marL="0" lvl="0" indent="0" algn="just">
              <a:buNone/>
            </a:pPr>
            <a:endParaRPr lang="ru-RU" sz="2000" b="1" i="1" dirty="0" smtClean="0">
              <a:solidFill>
                <a:schemeClr val="tx2">
                  <a:lumMod val="75000"/>
                </a:schemeClr>
              </a:solidFill>
              <a:effectLst>
                <a:outerShdw blurRad="63500" dist="38100" dir="5400000" algn="t">
                  <a:srgbClr val="000000">
                    <a:alpha val="25000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  <a:p>
            <a:pPr lvl="0" algn="just">
              <a:buFont typeface="Symbol"/>
              <a:buChar char=""/>
            </a:pPr>
            <a:r>
              <a:rPr lang="ru-RU" sz="2000" b="1" i="1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j-ea"/>
                <a:cs typeface="Arial" pitchFamily="34" charset="0"/>
              </a:rPr>
              <a:t>Аналитические </a:t>
            </a:r>
            <a:r>
              <a:rPr lang="ru-RU" sz="2000" b="1" i="1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ea typeface="+mj-ea"/>
                <a:cs typeface="Arial" pitchFamily="34" charset="0"/>
              </a:rPr>
              <a:t>отчеты по итогам мониторинга</a:t>
            </a:r>
            <a:r>
              <a:rPr lang="ru-RU" sz="20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rPr>
              <a:t>:</a:t>
            </a:r>
          </a:p>
          <a:p>
            <a:pPr lvl="0" algn="just">
              <a:buFont typeface="+mj-lt"/>
              <a:buAutoNum type="arabicPeriod"/>
              <a:tabLst>
                <a:tab pos="457200" algn="l"/>
              </a:tabLst>
            </a:pPr>
            <a:r>
              <a:rPr lang="ru-RU" sz="2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Анализ качества образовательной подготовки обучающихся 11-х классов по математике (базовый уровень) по итогам диагностической работы, проведенной </a:t>
            </a:r>
            <a:r>
              <a:rPr lang="ru-RU" sz="2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1.03.2021</a:t>
            </a:r>
            <a:endParaRPr lang="ru-RU" sz="2200" b="1" dirty="0">
              <a:solidFill>
                <a:schemeClr val="tx2">
                  <a:lumMod val="75000"/>
                </a:schemeClr>
              </a:solidFill>
              <a:latin typeface="Arial" pitchFamily="34" charset="0"/>
              <a:ea typeface="Times New Roman"/>
              <a:cs typeface="Arial" pitchFamily="34" charset="0"/>
            </a:endParaRPr>
          </a:p>
          <a:p>
            <a:pPr lvl="0" algn="just">
              <a:buFont typeface="+mj-lt"/>
              <a:buAutoNum type="arabicPeriod"/>
              <a:tabLst>
                <a:tab pos="457200" algn="l"/>
              </a:tabLst>
            </a:pPr>
            <a:r>
              <a:rPr lang="ru-RU" sz="2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22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Анализ качества образовательной подготовки обучающихся 11-х классов по математике (профильный уровень) по итогам диагностической работы, проведенной </a:t>
            </a:r>
            <a:r>
              <a:rPr lang="ru-RU" sz="2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11.03.2021</a:t>
            </a:r>
          </a:p>
          <a:p>
            <a:pPr algn="just">
              <a:buFont typeface="+mj-lt"/>
              <a:buAutoNum type="arabicPeriod"/>
              <a:tabLst>
                <a:tab pos="457200" algn="l"/>
              </a:tabLst>
            </a:pPr>
            <a:r>
              <a:rPr lang="ru-RU" sz="22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Анализ качества образовательной подготовки учащихся 9 класса по математике по итогам мониторинга, проведенного 04.03.2021</a:t>
            </a:r>
            <a:endParaRPr lang="ru-RU" sz="2200" b="1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ea typeface="Times New Roman"/>
              <a:cs typeface="Arial" pitchFamily="34" charset="0"/>
            </a:endParaRPr>
          </a:p>
        </p:txBody>
      </p:sp>
      <p:pic>
        <p:nvPicPr>
          <p:cNvPr id="4" name="Рисунок 3" descr="http://school204.ru/images/Documents_2017-18/Innovacionnaya_deyatelnost/knopki/monitoring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3" y="5805264"/>
            <a:ext cx="3744415" cy="9361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32542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defRPr/>
            </a:pPr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езультаты по математике, 9 класс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b="1" dirty="0">
                <a:solidFill>
                  <a:schemeClr val="accent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b="1" dirty="0">
                <a:solidFill>
                  <a:srgbClr val="E5D58A">
                    <a:lumMod val="50000"/>
                  </a:srgbClr>
                </a:solidFill>
              </a:rPr>
              <a:t> </a:t>
            </a:r>
            <a:endParaRPr lang="ru-RU" sz="2800" b="1" dirty="0">
              <a:solidFill>
                <a:schemeClr val="accent4">
                  <a:lumMod val="90000"/>
                  <a:lumOff val="10000"/>
                </a:schemeClr>
              </a:solidFill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</p:nvPr>
        </p:nvGraphicFramePr>
        <p:xfrm>
          <a:off x="1500188" y="1524000"/>
          <a:ext cx="7491412" cy="165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8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28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8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28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ОГЭ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ЕГЭ (базовый</a:t>
                      </a:r>
                    </a:p>
                    <a:p>
                      <a:r>
                        <a:rPr lang="ru-RU" dirty="0" smtClean="0"/>
                        <a:t>Уровень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Объект 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652999515"/>
              </p:ext>
            </p:extLst>
          </p:nvPr>
        </p:nvGraphicFramePr>
        <p:xfrm>
          <a:off x="1" y="906637"/>
          <a:ext cx="9036493" cy="62469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275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10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55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264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9587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744376">
                <a:tc rowSpan="2">
                  <a:txBody>
                    <a:bodyPr/>
                    <a:lstStyle/>
                    <a:p>
                      <a:pPr algn="ctr"/>
                      <a:endParaRPr lang="ru-RU" sz="1800" b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91439" marR="91439" marT="45718" marB="4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е преодолели минимальный порог</a:t>
                      </a:r>
                      <a:endParaRPr lang="en-US" sz="1400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en-US" sz="1400" b="0" i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</a:t>
                      </a:r>
                      <a:r>
                        <a:rPr lang="ru-RU" sz="1400" b="0" i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не набрали 8 б.)</a:t>
                      </a:r>
                      <a:r>
                        <a:rPr lang="ru-RU" sz="1400" b="0" i="1" dirty="0" smtClean="0">
                          <a:solidFill>
                            <a:srgbClr val="62602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ru-RU" sz="1400" b="0" i="1" dirty="0">
                        <a:solidFill>
                          <a:srgbClr val="62602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редний балл</a:t>
                      </a:r>
                    </a:p>
                    <a:p>
                      <a:pPr algn="ctr"/>
                      <a:r>
                        <a:rPr lang="ru-RU" sz="1400" b="1" i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по пятибалльной шкале)</a:t>
                      </a:r>
                      <a:endParaRPr lang="ru-RU" sz="1400" b="1" i="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400" b="1" i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Качество ЗУН</a:t>
                      </a:r>
                    </a:p>
                    <a:p>
                      <a:pPr algn="ctr"/>
                      <a:r>
                        <a:rPr lang="ru-RU" sz="1400" b="1" i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%)</a:t>
                      </a:r>
                      <a:endParaRPr lang="ru-RU" sz="1400" b="1" i="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28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62602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чел</a:t>
                      </a:r>
                      <a:r>
                        <a:rPr lang="en-US" sz="1800" b="1" dirty="0" smtClean="0">
                          <a:solidFill>
                            <a:srgbClr val="62602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.</a:t>
                      </a:r>
                      <a:endParaRPr lang="ru-RU" sz="1800" b="1" dirty="0" smtClean="0">
                        <a:solidFill>
                          <a:srgbClr val="62602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j-lt"/>
                      </a:endParaRP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62602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j-lt"/>
                        </a:rPr>
                        <a:t>%</a:t>
                      </a:r>
                    </a:p>
                  </a:txBody>
                  <a:tcPr marL="91439" marR="91439" marT="45718" marB="45718"/>
                </a:tc>
                <a:tc vMerge="1">
                  <a:txBody>
                    <a:bodyPr/>
                    <a:lstStyle/>
                    <a:p>
                      <a:endParaRPr lang="ru-RU" sz="1800" b="1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marL="91428" marR="91428" marT="45717" marB="45717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42699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ониторинг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 региону</a:t>
                      </a:r>
                    </a:p>
                    <a:p>
                      <a:pPr algn="ctr"/>
                      <a:r>
                        <a:rPr lang="ru-RU" sz="1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 4</a:t>
                      </a:r>
                      <a:r>
                        <a:rPr lang="ru-RU" sz="1400" b="1" baseline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марта </a:t>
                      </a:r>
                      <a:r>
                        <a:rPr lang="ru-RU" sz="1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21 г.</a:t>
                      </a:r>
                      <a:endParaRPr lang="ru-RU" sz="14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2092</a:t>
                      </a: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8,7%</a:t>
                      </a:r>
                      <a:r>
                        <a:rPr lang="ru-RU" sz="2000" b="1" dirty="0" smtClean="0">
                          <a:solidFill>
                            <a:srgbClr val="993300"/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,2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мый низкий балл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</a:t>
                      </a:r>
                      <a:r>
                        <a:rPr kumimoji="0" lang="ru-RU" sz="16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ленковском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районе – 2,6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мый высокий балл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 3,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</a:t>
                      </a:r>
                      <a:r>
                        <a:rPr kumimoji="0" lang="ru-RU" sz="1600" b="0" i="1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роховецком</a:t>
                      </a:r>
                      <a:r>
                        <a:rPr kumimoji="0" lang="ru-RU" sz="16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и </a:t>
                      </a:r>
                      <a:r>
                        <a:rPr kumimoji="0" lang="ru-RU" sz="16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овровском </a:t>
                      </a:r>
                      <a:r>
                        <a:rPr kumimoji="0" lang="ru-RU" sz="16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63891F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йонах</a:t>
                      </a:r>
                      <a:endParaRPr lang="ru-RU" sz="2000" b="1" i="1" dirty="0" smtClean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1,5%</a:t>
                      </a:r>
                    </a:p>
                    <a:p>
                      <a:pPr algn="ctr"/>
                      <a:endParaRPr lang="ru-RU" sz="2000" b="1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1414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ГЭ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 региону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21 г.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u="sng" dirty="0" smtClean="0">
                        <a:solidFill>
                          <a:schemeClr val="accent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Black" panose="020B0A04020102020204" pitchFamily="34" charset="0"/>
                        </a:rPr>
                        <a:t>691</a:t>
                      </a:r>
                      <a:endParaRPr lang="ru-RU" b="1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Arial Black" panose="020B0A04020102020204" pitchFamily="34" charset="0"/>
                      </a:endParaRP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 Black" panose="020B0A04020102020204" pitchFamily="34" charset="0"/>
                        </a:rPr>
                        <a:t>5,58%</a:t>
                      </a:r>
                      <a:endParaRPr lang="ru-RU" b="1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Arial Black" panose="020B0A04020102020204" pitchFamily="34" charset="0"/>
                      </a:endParaRP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,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мый низкий балл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 3,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Ковровском районе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мый высокий балл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 3,5 </a:t>
                      </a:r>
                      <a:r>
                        <a:rPr lang="ru-RU" sz="1600" b="0" i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Владимир, Ковров и в </a:t>
                      </a:r>
                      <a:r>
                        <a:rPr lang="ru-RU" sz="1600" b="0" i="1" dirty="0" err="1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Судогодском</a:t>
                      </a:r>
                      <a:r>
                        <a:rPr lang="ru-RU" sz="1600" b="0" i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районе</a:t>
                      </a:r>
                      <a:endParaRPr lang="ru-RU" sz="2400" b="0" i="1" dirty="0" smtClean="0">
                        <a:solidFill>
                          <a:schemeClr val="accent2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3,65%</a:t>
                      </a:r>
                      <a:endParaRPr lang="ru-RU" sz="2000" b="1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78718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ГЭ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 региону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1</a:t>
                      </a:r>
                      <a:r>
                        <a:rPr kumimoji="0" lang="en-US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</a:t>
                      </a: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г.</a:t>
                      </a: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416</a:t>
                      </a:r>
                      <a:endParaRPr lang="ru-RU" sz="2000" b="1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,36%</a:t>
                      </a:r>
                      <a:endParaRPr lang="ru-RU" sz="2000" b="1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3,6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мый низкий балл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 3,3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</a:t>
                      </a:r>
                      <a:r>
                        <a:rPr kumimoji="0" lang="ru-RU" sz="16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Гороховецком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</a:t>
                      </a:r>
                      <a:r>
                        <a:rPr kumimoji="0" lang="ru-RU" sz="16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амешковском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и </a:t>
                      </a:r>
                      <a:r>
                        <a:rPr kumimoji="0" lang="ru-RU" sz="16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уромском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айонах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амый высокий балл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– 4,0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адетский корпус и НОО</a:t>
                      </a:r>
                    </a:p>
                  </a:txBody>
                  <a:tcPr marL="91439" marR="91439" marT="45718" marB="4571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accent5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50,35%</a:t>
                      </a:r>
                      <a:endParaRPr lang="ru-RU" sz="2000" b="1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45718" marB="45718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06637"/>
            <a:ext cx="1979712" cy="1082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92410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ru-RU" sz="3200" b="1" dirty="0">
                <a:effectLst/>
              </a:rPr>
              <a:t>Результаты </a:t>
            </a:r>
            <a:r>
              <a:rPr lang="ru-RU" sz="3200" b="1" dirty="0" smtClean="0">
                <a:effectLst/>
              </a:rPr>
              <a:t>мониторинга и  ОГЭ </a:t>
            </a:r>
            <a:r>
              <a:rPr lang="ru-RU" sz="3200" b="1" dirty="0">
                <a:effectLst/>
              </a:rPr>
              <a:t>2021 г. показали:</a:t>
            </a:r>
            <a:endParaRPr lang="ru-RU" sz="32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5536" y="1600200"/>
            <a:ext cx="8496944" cy="4525963"/>
          </a:xfrm>
        </p:spPr>
        <p:txBody>
          <a:bodyPr/>
          <a:lstStyle/>
          <a:p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затруднения </a:t>
            </a: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обучающихся в чтении и понимании текста (0,5 страницы), в выявлении информации,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необходимой для </a:t>
            </a: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выполнения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задания</a:t>
            </a:r>
            <a:r>
              <a:rPr lang="en-US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№</a:t>
            </a:r>
            <a:r>
              <a:rPr lang="en-US" b="1" dirty="0" smtClean="0">
                <a:solidFill>
                  <a:schemeClr val="accent2">
                    <a:lumMod val="75000"/>
                  </a:schemeClr>
                </a:solidFill>
              </a:rPr>
              <a:t>1 -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№</a:t>
            </a:r>
            <a:r>
              <a:rPr lang="en-US" b="1" dirty="0" smtClean="0">
                <a:solidFill>
                  <a:schemeClr val="accent2">
                    <a:lumMod val="75000"/>
                  </a:schemeClr>
                </a:solidFill>
              </a:rPr>
              <a:t>5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;</a:t>
            </a:r>
          </a:p>
          <a:p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неготовность </a:t>
            </a: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спланировать и осуществить несколько действий в решении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задания;</a:t>
            </a: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неумение </a:t>
            </a: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ориентироваться в </a:t>
            </a:r>
            <a:r>
              <a:rPr lang="ru-RU" dirty="0" err="1">
                <a:solidFill>
                  <a:schemeClr val="accent2">
                    <a:lumMod val="75000"/>
                  </a:schemeClr>
                </a:solidFill>
              </a:rPr>
              <a:t>практикоориентированных</a:t>
            </a: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контекстах;</a:t>
            </a: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низкий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уровень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функциональной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математической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грамотности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.</a:t>
            </a: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312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800" dirty="0" smtClean="0">
                <a:solidFill>
                  <a:schemeClr val="accent2">
                    <a:lumMod val="75000"/>
                  </a:schemeClr>
                </a:solidFill>
              </a:rPr>
              <a:t>Рекомендации по подготовке к ОГЭ, 9 класс</a:t>
            </a:r>
            <a:endParaRPr lang="ru-RU" sz="28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рганизовать индивидуальную работу с обучающимися, получившими неудовлетворительную отметку за диагностическую работу, отработав </a:t>
            </a:r>
            <a:r>
              <a:rPr lang="ru-RU" sz="22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Задания</a:t>
            </a:r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, с которыми обучающиеся лучше всех справляются; </a:t>
            </a:r>
          </a:p>
          <a:p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усилить работу по повторению материала курса геометрии 7-9 классов; </a:t>
            </a:r>
          </a:p>
          <a:p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выделить «проблемные» темы в каждом конкретном классе и работать над ликвидацией пробелов в знаниях и умениях учащихся по этим темам;</a:t>
            </a:r>
          </a:p>
          <a:p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включать в тематические контрольные и самостоятельные работы задания в тестовой форме с кратким и развернутым </a:t>
            </a:r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ответом в формате ОГЭ;</a:t>
            </a:r>
            <a:endParaRPr lang="ru-RU" sz="2200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роводить целенаправленную работу по формированию вычислительных навыков.</a:t>
            </a:r>
          </a:p>
          <a:p>
            <a:endParaRPr lang="ru-RU" sz="2200" dirty="0" smtClean="0">
              <a:latin typeface="Arial" pitchFamily="34" charset="0"/>
              <a:cs typeface="Arial" pitchFamily="34" charset="0"/>
            </a:endParaRP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pPr algn="ctr">
              <a:lnSpc>
                <a:spcPct val="100000"/>
              </a:lnSpc>
              <a:defRPr/>
            </a:pPr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 Black" pitchFamily="34" charset="0"/>
                <a:cs typeface="Arial" pitchFamily="34" charset="0"/>
              </a:rPr>
              <a:t>Результаты по математике </a:t>
            </a:r>
            <a:b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 Black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chemeClr val="accent2">
                    <a:lumMod val="50000"/>
                  </a:schemeClr>
                </a:solidFill>
                <a:latin typeface="Arial Black" pitchFamily="34" charset="0"/>
                <a:cs typeface="Arial" pitchFamily="34" charset="0"/>
              </a:rPr>
              <a:t>(профильный уровень), 11 класс</a:t>
            </a:r>
            <a:endParaRPr lang="ru-RU" sz="2400" b="1" dirty="0">
              <a:solidFill>
                <a:schemeClr val="accent2">
                  <a:lumMod val="50000"/>
                </a:schemeClr>
              </a:solidFill>
              <a:latin typeface="Arial Black" pitchFamily="34" charset="0"/>
              <a:cs typeface="Arial" pitchFamily="34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</p:nvPr>
        </p:nvGraphicFramePr>
        <p:xfrm>
          <a:off x="1500188" y="1524000"/>
          <a:ext cx="7491412" cy="1651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728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728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7285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285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dirty="0" smtClean="0"/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ОГЭ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ЕГЭ (базовый</a:t>
                      </a:r>
                    </a:p>
                    <a:p>
                      <a:r>
                        <a:rPr lang="ru-RU" dirty="0" smtClean="0"/>
                        <a:t>Уровень)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8" name="Объект 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044205823"/>
              </p:ext>
            </p:extLst>
          </p:nvPr>
        </p:nvGraphicFramePr>
        <p:xfrm>
          <a:off x="186368" y="1188516"/>
          <a:ext cx="8821114" cy="51283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19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71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465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054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293642">
                <a:tc rowSpan="2">
                  <a:txBody>
                    <a:bodyPr/>
                    <a:lstStyle/>
                    <a:p>
                      <a:pPr algn="ctr"/>
                      <a:endParaRPr lang="ru-RU" sz="1800" b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marL="91424" marR="91424" marT="45737" marB="45737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+mj-lt"/>
                        </a:rPr>
                        <a:t>Не преодолели минимальный порог </a:t>
                      </a:r>
                      <a:endParaRPr lang="ru-RU" sz="1800" dirty="0">
                        <a:solidFill>
                          <a:schemeClr val="accent2">
                            <a:lumMod val="75000"/>
                          </a:schemeClr>
                        </a:solidFill>
                        <a:latin typeface="+mj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ин. балл 27  (тест. балл)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(первичный балл – 6)</a:t>
                      </a:r>
                    </a:p>
                  </a:txBody>
                  <a:tcPr marL="91424" marR="91424" marT="45737" marB="45737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редний балл </a:t>
                      </a:r>
                    </a:p>
                    <a:p>
                      <a:pPr algn="ctr"/>
                      <a:endParaRPr lang="ru-RU" sz="1800" i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1800" i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(по</a:t>
                      </a:r>
                      <a:r>
                        <a:rPr lang="ru-RU" sz="1800" i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ru-RU" sz="1800" i="1" baseline="0" dirty="0" err="1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стобалльной</a:t>
                      </a:r>
                      <a:r>
                        <a:rPr lang="ru-RU" sz="1800" i="1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шкале)</a:t>
                      </a:r>
                      <a:endParaRPr lang="ru-RU" sz="1800" i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4" marR="91424" marT="45737" marB="45737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43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Чел.</a:t>
                      </a:r>
                      <a:endParaRPr lang="ru-RU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4" marR="91424" marT="45737" marB="45737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% не  набрали мин. балл</a:t>
                      </a:r>
                      <a:endParaRPr lang="ru-RU" sz="1400" b="0" dirty="0">
                        <a:solidFill>
                          <a:schemeClr val="tx2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4" marR="91424" marT="45737" marB="45737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72525">
                <a:tc>
                  <a:txBody>
                    <a:bodyPr/>
                    <a:lstStyle/>
                    <a:p>
                      <a:pPr algn="ctr"/>
                      <a:r>
                        <a:rPr lang="ru-RU" sz="2000" b="1" u="sng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Мониторинг </a:t>
                      </a:r>
                    </a:p>
                    <a:p>
                      <a:pPr algn="ctr"/>
                      <a:r>
                        <a:rPr lang="ru-RU" sz="2000" b="1" i="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по региону </a:t>
                      </a:r>
                      <a:r>
                        <a:rPr lang="ru-RU" sz="2000" b="1" i="0" dirty="0" smtClean="0">
                          <a:solidFill>
                            <a:schemeClr val="accent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600" b="1" i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от  11</a:t>
                      </a:r>
                      <a:r>
                        <a:rPr lang="ru-RU" sz="1600" b="1" i="0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марта</a:t>
                      </a:r>
                      <a:r>
                        <a:rPr lang="ru-RU" sz="1600" b="1" i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2021 г.</a:t>
                      </a:r>
                      <a:r>
                        <a:rPr lang="ru-RU" sz="1600" b="1" i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</a:txBody>
                  <a:tcPr marL="91424" marR="91424" marT="45737" marB="4573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160</a:t>
                      </a:r>
                    </a:p>
                  </a:txBody>
                  <a:tcPr marL="91424" marR="91424" marT="45737" marB="45737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6%</a:t>
                      </a:r>
                    </a:p>
                    <a:p>
                      <a:pPr algn="ctr"/>
                      <a:endParaRPr lang="ru-RU" sz="24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4" marR="91424" marT="45737" marB="45737"/>
                </a:tc>
                <a:tc>
                  <a:txBody>
                    <a:bodyPr/>
                    <a:lstStyle/>
                    <a:p>
                      <a:pPr algn="ctr"/>
                      <a:endParaRPr lang="ru-RU" sz="2800" b="1" dirty="0" smtClean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28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</a:txBody>
                  <a:tcPr marL="91424" marR="91424" marT="45737" marB="4573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8386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sng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Экзамен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по региону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2021 г.</a:t>
                      </a:r>
                    </a:p>
                  </a:txBody>
                  <a:tcPr marL="91424" marR="91424" marT="45737" marB="45737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188</a:t>
                      </a:r>
                    </a:p>
                  </a:txBody>
                  <a:tcPr marL="91427" marR="91427" marT="45734" marB="45734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6,23%</a:t>
                      </a:r>
                    </a:p>
                  </a:txBody>
                  <a:tcPr marL="91427" marR="91427" marT="45734" marB="45734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5,9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РФ – 55,1</a:t>
                      </a:r>
                    </a:p>
                  </a:txBody>
                  <a:tcPr marL="91427" marR="91427" marT="45734" marB="45734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083869">
                <a:tc>
                  <a:txBody>
                    <a:bodyPr/>
                    <a:lstStyle/>
                    <a:p>
                      <a:pPr algn="ctr"/>
                      <a:r>
                        <a:rPr lang="ru-RU" sz="2000" b="1" u="sng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Экзамен</a:t>
                      </a:r>
                    </a:p>
                    <a:p>
                      <a:pPr algn="ctr"/>
                      <a:r>
                        <a:rPr lang="ru-RU" sz="2000" b="1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по региону </a:t>
                      </a:r>
                    </a:p>
                    <a:p>
                      <a:pPr algn="ctr"/>
                      <a:r>
                        <a:rPr lang="ru-RU" sz="1600" b="1" baseline="0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Arial" pitchFamily="34" charset="0"/>
                          <a:cs typeface="Arial" pitchFamily="34" charset="0"/>
                        </a:rPr>
                        <a:t> 2020 г.</a:t>
                      </a:r>
                      <a:endParaRPr lang="ru-RU" sz="1600" b="1" dirty="0" smtClean="0">
                        <a:solidFill>
                          <a:schemeClr val="accent4">
                            <a:lumMod val="75000"/>
                          </a:schemeClr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24" marR="91424" marT="45737" marB="45737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19</a:t>
                      </a:r>
                    </a:p>
                  </a:txBody>
                  <a:tcPr marL="91427" marR="91427" marT="45734" marB="45734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7,58%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9 г . – 3,79%</a:t>
                      </a:r>
                    </a:p>
                  </a:txBody>
                  <a:tcPr marL="91427" marR="91427" marT="45734" marB="45734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55,2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2019 г. – 55,09</a:t>
                      </a:r>
                    </a:p>
                  </a:txBody>
                  <a:tcPr marL="91427" marR="91427" marT="45734" marB="45734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268760"/>
            <a:ext cx="1884363" cy="1152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012343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8072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ять </a:t>
            </a:r>
            <a: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 участников с разными уровнями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ческой подготовки ЕГЭ </a:t>
            </a:r>
            <a: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математике</a:t>
            </a:r>
            <a:br>
              <a:rPr lang="ru-RU" sz="20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2022 г. заканчивают 11 класс обучающиеся, не сдававшие </a:t>
            </a:r>
            <a:r>
              <a:rPr lang="ru-RU" sz="16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Э</a:t>
            </a:r>
            <a:r>
              <a:rPr lang="en-US" sz="1600" b="1" dirty="0" smtClean="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!!!</a:t>
            </a:r>
            <a:endParaRPr lang="ru-RU" sz="1600" b="1" dirty="0">
              <a:solidFill>
                <a:schemeClr val="accent5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34673861"/>
              </p:ext>
            </p:extLst>
          </p:nvPr>
        </p:nvGraphicFramePr>
        <p:xfrm>
          <a:off x="287016" y="1087755"/>
          <a:ext cx="8856984" cy="578505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4627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353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671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786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7139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22413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Группа минимального уровня подготовк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уппа первого базового уровня подготовки</a:t>
                      </a:r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уппа второго базового уровня подготовки</a:t>
                      </a:r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уппа повышенного уровня подготовки</a:t>
                      </a:r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уппа высокого уровня подготовки</a:t>
                      </a:r>
                      <a:endParaRPr lang="ru-RU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474419">
                <a:tc>
                  <a:txBody>
                    <a:bodyPr/>
                    <a:lstStyle/>
                    <a:p>
                      <a:r>
                        <a:rPr lang="ru-RU" sz="14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олняют </a:t>
                      </a:r>
                    </a:p>
                    <a:p>
                      <a:r>
                        <a:rPr lang="ru-RU" sz="1400" b="1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более 5</a:t>
                      </a:r>
                      <a:r>
                        <a:rPr lang="ru-RU" sz="1400" b="1" i="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даний </a:t>
                      </a:r>
                      <a:r>
                        <a:rPr lang="ru-RU" sz="1400" b="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соответствует 23 тестовым баллам). Выпускники не обладают математическими умениями на базовом, бытовом и общественно значимом уровне</a:t>
                      </a:r>
                      <a:r>
                        <a:rPr lang="ru-RU" sz="1400" i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 </a:t>
                      </a:r>
                      <a:endParaRPr lang="ru-RU" sz="1400" i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олняют  </a:t>
                      </a:r>
                    </a:p>
                    <a:p>
                      <a:r>
                        <a:rPr lang="ru-RU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-10 заданий</a:t>
                      </a:r>
                    </a:p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7 -50 тестовых баллов).</a:t>
                      </a:r>
                    </a:p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воили курс математики на базовом уровне, но не имеют достаточной подготовки для продолжения образования по техническим специальностям.  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лучают </a:t>
                      </a:r>
                      <a:r>
                        <a:rPr lang="ru-RU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–13 </a:t>
                      </a:r>
                      <a:r>
                        <a:rPr lang="ru-RU" sz="14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ичн</a:t>
                      </a:r>
                      <a:r>
                        <a:rPr lang="ru-RU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баллов</a:t>
                      </a:r>
                    </a:p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56 -68 тестовых баллов). Успешно освоили базовый курс математики и могут быть зачислены на технические специальности большинства вузов. </a:t>
                      </a:r>
                    </a:p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учают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22 </a:t>
                      </a:r>
                      <a:r>
                        <a:rPr lang="ru-RU" sz="14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ичн</a:t>
                      </a:r>
                      <a:r>
                        <a:rPr lang="ru-RU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баллов</a:t>
                      </a:r>
                    </a:p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70  - 86 тестовых баллов). Освоили курс математики и имеют достаточный уровень математической подготовки для продолжения образования по большинству специальностей, требующих </a:t>
                      </a:r>
                      <a:r>
                        <a:rPr lang="ru-RU" sz="14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формированности</a:t>
                      </a:r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математической компетентности. 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учают</a:t>
                      </a:r>
                      <a:r>
                        <a:rPr lang="ru-RU" sz="14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 -31 </a:t>
                      </a:r>
                      <a:r>
                        <a:rPr lang="ru-RU" sz="14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ичн</a:t>
                      </a:r>
                      <a:r>
                        <a:rPr lang="ru-RU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балла </a:t>
                      </a:r>
                    </a:p>
                    <a:p>
                      <a:r>
                        <a:rPr lang="ru-RU" sz="14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88 -100 тестовых баллов). Освоили курс математики и имеют достаточный уровень математической подготовки для продолжения образования с самыми высокими требованиями к математической компетентности.</a:t>
                      </a:r>
                      <a:endParaRPr lang="ru-RU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2445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96752"/>
          </a:xfrm>
        </p:spPr>
        <p:txBody>
          <a:bodyPr/>
          <a:lstStyle/>
          <a:p>
            <a:r>
              <a:rPr lang="ru-RU" sz="3600" dirty="0" smtClean="0">
                <a:latin typeface="Arial" panose="020B0604020202020204" pitchFamily="34" charset="0"/>
                <a:cs typeface="Arial" panose="020B0604020202020204" pitchFamily="34" charset="0"/>
              </a:rPr>
              <a:t>Этапы индивидуальной подготовки</a:t>
            </a:r>
            <a:endParaRPr lang="ru-RU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30" y="1340768"/>
            <a:ext cx="8496944" cy="4785395"/>
          </a:xfrm>
        </p:spPr>
        <p:txBody>
          <a:bodyPr/>
          <a:lstStyle/>
          <a:p>
            <a:pPr marL="0" lv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02060"/>
                </a:solidFill>
                <a:latin typeface="Calibri"/>
              </a:rPr>
              <a:t>1. Определить свой уровень подготовки</a:t>
            </a:r>
          </a:p>
          <a:p>
            <a:pPr marL="285750" lvl="0" indent="-285750" algn="just">
              <a:spcBef>
                <a:spcPts val="0"/>
              </a:spcBef>
            </a:pPr>
            <a:r>
              <a:rPr lang="ru-RU" sz="2000" dirty="0">
                <a:solidFill>
                  <a:srgbClr val="002060"/>
                </a:solidFill>
                <a:latin typeface="Calibri"/>
              </a:rPr>
              <a:t>Решить три-пять разных вариантов, соответствующих демонстрационному варианту </a:t>
            </a:r>
            <a:r>
              <a:rPr lang="ru-RU" sz="2000" dirty="0" smtClean="0">
                <a:solidFill>
                  <a:srgbClr val="002060"/>
                </a:solidFill>
                <a:latin typeface="Calibri"/>
              </a:rPr>
              <a:t>ЕГЭ  2022 </a:t>
            </a:r>
            <a:r>
              <a:rPr lang="ru-RU" sz="2000" dirty="0">
                <a:solidFill>
                  <a:srgbClr val="002060"/>
                </a:solidFill>
                <a:latin typeface="Calibri"/>
              </a:rPr>
              <a:t>г</a:t>
            </a:r>
            <a:r>
              <a:rPr lang="ru-RU" sz="2000" dirty="0" smtClean="0">
                <a:solidFill>
                  <a:srgbClr val="002060"/>
                </a:solidFill>
                <a:latin typeface="Calibri"/>
              </a:rPr>
              <a:t>.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</a:t>
            </a:r>
            <a:r>
              <a:rPr lang="en-US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://fipi.ru</a:t>
            </a:r>
            <a:r>
              <a:rPr lang="en-US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/</a:t>
            </a:r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just">
              <a:spcBef>
                <a:spcPts val="0"/>
              </a:spcBef>
              <a:buNone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пользовать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ы из 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борников 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й, прошедшие научно-методическую оценку в ФГБНУ «ФИПИ», бесплатные </a:t>
            </a:r>
            <a:r>
              <a:rPr lang="ru-RU" sz="14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нет-ресурсы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4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just">
              <a:spcBef>
                <a:spcPts val="0"/>
              </a:spcBef>
              <a:buNone/>
            </a:pPr>
            <a:endParaRPr lang="ru-RU" sz="14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Bef>
                <a:spcPts val="0"/>
              </a:spcBef>
            </a:pPr>
            <a:r>
              <a:rPr lang="ru-RU" sz="2000" dirty="0" smtClean="0">
                <a:solidFill>
                  <a:srgbClr val="002060"/>
                </a:solidFill>
                <a:latin typeface="Calibri"/>
              </a:rPr>
              <a:t>Результаты </a:t>
            </a:r>
            <a:r>
              <a:rPr lang="ru-RU" sz="2000" dirty="0">
                <a:solidFill>
                  <a:srgbClr val="002060"/>
                </a:solidFill>
                <a:latin typeface="Calibri"/>
              </a:rPr>
              <a:t>занести в </a:t>
            </a:r>
            <a:r>
              <a:rPr lang="ru-RU" sz="2000" b="1" dirty="0">
                <a:solidFill>
                  <a:srgbClr val="002060"/>
                </a:solidFill>
                <a:latin typeface="Calibri"/>
              </a:rPr>
              <a:t>лист достижений </a:t>
            </a:r>
            <a:r>
              <a:rPr lang="ru-RU" sz="2000" dirty="0">
                <a:solidFill>
                  <a:srgbClr val="002060"/>
                </a:solidFill>
                <a:latin typeface="Calibri"/>
              </a:rPr>
              <a:t>– таблицу, в которой столбик – вариант (номер варианта, работы), строчки – номера заданий, например, обозначая правильные ответы знаком «+», а неправильные – знаком «–».</a:t>
            </a:r>
          </a:p>
          <a:p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3928299"/>
            <a:ext cx="8640960" cy="2492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5249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52736"/>
          </a:xfrm>
        </p:spPr>
        <p:txBody>
          <a:bodyPr/>
          <a:lstStyle/>
          <a:p>
            <a:r>
              <a:rPr lang="ru-RU" sz="3600" dirty="0">
                <a:solidFill>
                  <a:srgbClr val="2F58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пы индивидуальной подготовки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124747"/>
            <a:ext cx="8229600" cy="5001419"/>
          </a:xfrm>
        </p:spPr>
        <p:txBody>
          <a:bodyPr>
            <a:normAutofit fontScale="92500" lnSpcReduction="10000"/>
          </a:bodyPr>
          <a:lstStyle/>
          <a:p>
            <a:pPr marL="0" lvl="0" indent="0">
              <a:buNone/>
            </a:pP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22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формулиров</a:t>
            </a:r>
            <a:r>
              <a:rPr lang="ru-RU" sz="2200" b="1" dirty="0" smtClean="0">
                <a:solidFill>
                  <a:srgbClr val="E4E9EF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ь </a:t>
            </a:r>
            <a:r>
              <a:rPr lang="ru-RU" sz="2200" b="1" dirty="0">
                <a:solidFill>
                  <a:srgbClr val="E4E9EF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сдачи экзамена </a:t>
            </a:r>
            <a:r>
              <a:rPr lang="ru-RU" sz="2200" b="1" dirty="0" smtClean="0">
                <a:solidFill>
                  <a:srgbClr val="E4E9EF">
                    <a:lumMod val="2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ЕГЭ</a:t>
            </a:r>
            <a:endParaRPr lang="ru-RU" sz="2200" b="1" dirty="0">
              <a:solidFill>
                <a:srgbClr val="E4E9EF">
                  <a:lumMod val="2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упления в вуз, который не предъявляет высоких требований к уровню математической подготовки абитуриентов, может хватить и 60 баллов, </a:t>
            </a:r>
            <a:r>
              <a:rPr lang="ru-RU" sz="2000" u="sng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аточно решить все задания с кратким ответом. </a:t>
            </a:r>
            <a:endParaRPr lang="ru-RU" sz="2000" u="sng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упления в вуз, который не предъявляет высоких требований к уровню математической подготовки абитуриентов, но требует набрать более 60 баллов, </a:t>
            </a:r>
            <a:r>
              <a:rPr lang="ru-RU" sz="2000" u="sng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оме всех заданий с кратким ответом, нужно уверенно решать два-три задания с развёрнутым ответом</a:t>
            </a:r>
            <a:r>
              <a:rPr lang="ru-RU" sz="2000" u="sng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/>
            <a:r>
              <a:rPr lang="ru-RU" sz="20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поступления в вуз с большим конкурсом, который предъявляет высокие требования к уровню математической подготовки абитуриентов, следует подготовиться к успешному </a:t>
            </a:r>
            <a:r>
              <a:rPr lang="ru-RU" sz="2000" u="sng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ю почти всех заданий экзаменационной работы. </a:t>
            </a:r>
            <a:endParaRPr lang="ru-RU" sz="2000" u="sng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buNone/>
            </a:pPr>
            <a:r>
              <a:rPr lang="ru-RU" sz="20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уктура </a:t>
            </a:r>
            <a:r>
              <a:rPr lang="ru-RU" sz="2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заменационной работы соответствует этим разным целям сдачи </a:t>
            </a:r>
            <a:r>
              <a:rPr lang="ru-RU" sz="2000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замена</a:t>
            </a:r>
            <a:r>
              <a:rPr lang="ru-RU" sz="20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37486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0" y="0"/>
            <a:ext cx="9036496" cy="9383372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1026" name="Picture 2" descr="img_user_file_5b398eabb8ed0_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99392"/>
            <a:ext cx="9036496" cy="68407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81604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24744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ct val="20000"/>
              </a:spcBef>
            </a:pPr>
            <a:r>
              <a:rPr lang="ru-RU" sz="1900" b="1" dirty="0">
                <a:solidFill>
                  <a:srgbClr val="E4E9EF">
                    <a:lumMod val="25000"/>
                  </a:srgb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1900" b="1" dirty="0">
                <a:solidFill>
                  <a:srgbClr val="E4E9EF">
                    <a:lumMod val="25000"/>
                  </a:srgbClr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836712"/>
            <a:ext cx="8229600" cy="5289451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ru-RU" sz="2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Выстроить </a:t>
            </a:r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ю подготовки к </a:t>
            </a:r>
            <a:r>
              <a:rPr lang="ru-RU" sz="2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замену</a:t>
            </a:r>
          </a:p>
          <a:p>
            <a:pPr marL="0" indent="0">
              <a:buNone/>
            </a:pPr>
            <a:endParaRPr lang="ru-RU" sz="20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альная 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я подготовки к экзамену – 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атическая 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</a:t>
            </a: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ренировочные 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ы следует решать не более двух раз в неделю, отдельно решая задания по темам, которые усвоены плохо. </a:t>
            </a:r>
            <a:endParaRPr lang="ru-RU" sz="19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ешении каждого </a:t>
            </a:r>
            <a:r>
              <a:rPr lang="ru-RU" sz="19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я </a:t>
            </a:r>
            <a:r>
              <a:rPr lang="ru-RU" sz="19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кратким ответом </a:t>
            </a: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жно 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йти все этапы</a:t>
            </a: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0" indent="0" algn="just">
              <a:buNone/>
            </a:pP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) внимательно прочитать условие, выделить в тексте ключевые моменты</a:t>
            </a: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0" indent="0" algn="just">
              <a:buNone/>
            </a:pP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) выполнить вычисления (рассуждения), обычно нужно сделать 1–2 шага; </a:t>
            </a:r>
            <a:endParaRPr lang="ru-RU" sz="19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зафиксировать полученный ответ</a:t>
            </a: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0" indent="0" algn="just">
              <a:buNone/>
            </a:pP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) проверить правильность ответа, решив обратную задачу, или подставив корни в уравнение, или оценив полученный ответ оценкой (прикидкой) ожидаемого результата, а при решении задачи можно проверить реалистичность полученного ответа; </a:t>
            </a:r>
            <a:endParaRPr lang="ru-RU" sz="19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прочитать ещё раз вопрос в задании и убедиться, что ответ получен именно на него; </a:t>
            </a:r>
            <a:endParaRPr lang="ru-RU" sz="19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None/>
            </a:pPr>
            <a:r>
              <a:rPr lang="ru-RU" sz="19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</a:t>
            </a:r>
            <a:r>
              <a:rPr lang="ru-RU" sz="19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записать ответ в бланк ответов № 1.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67544" y="116637"/>
            <a:ext cx="8136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dirty="0">
                <a:solidFill>
                  <a:srgbClr val="2F5897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Этапы индивидуальной подготов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2378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404664"/>
            <a:ext cx="8229600" cy="1152128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ru-RU" sz="3600" dirty="0" smtClean="0">
                <a:solidFill>
                  <a:srgbClr val="2F58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3600" dirty="0" smtClean="0">
                <a:solidFill>
                  <a:srgbClr val="2F58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600" dirty="0">
                <a:solidFill>
                  <a:srgbClr val="2F58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lang="ru-RU" sz="3600" dirty="0">
                <a:solidFill>
                  <a:srgbClr val="2F58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lang="ru-RU" sz="3600" dirty="0" smtClean="0">
                <a:solidFill>
                  <a:srgbClr val="2F58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тапы </a:t>
            </a:r>
            <a:r>
              <a:rPr lang="ru-RU" sz="3600" dirty="0">
                <a:solidFill>
                  <a:srgbClr val="2F5897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дивидуальной подготовки</a:t>
            </a:r>
            <a:r>
              <a:rPr lang="ru-RU" sz="1800" dirty="0">
                <a:solidFill>
                  <a:prstClr val="black"/>
                </a:solidFill>
                <a:effectLst/>
                <a:ea typeface="+mn-ea"/>
                <a:cs typeface="+mn-cs"/>
              </a:rPr>
              <a:t/>
            </a:r>
            <a:br>
              <a:rPr lang="ru-RU" sz="1800" dirty="0">
                <a:solidFill>
                  <a:prstClr val="black"/>
                </a:solidFill>
                <a:effectLst/>
                <a:ea typeface="+mn-ea"/>
                <a:cs typeface="+mn-cs"/>
              </a:rPr>
            </a:b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052741"/>
            <a:ext cx="8229600" cy="5073427"/>
          </a:xfrm>
        </p:spPr>
        <p:txBody>
          <a:bodyPr>
            <a:normAutofit/>
          </a:bodyPr>
          <a:lstStyle/>
          <a:p>
            <a:pPr marL="0" lvl="0" indent="0">
              <a:spcBef>
                <a:spcPts val="0"/>
              </a:spcBef>
              <a:buNone/>
            </a:pPr>
            <a:r>
              <a:rPr lang="ru-RU" b="1" dirty="0">
                <a:solidFill>
                  <a:srgbClr val="002060"/>
                </a:solidFill>
                <a:latin typeface="Calibri"/>
              </a:rPr>
              <a:t>4. Выстроить график подготовки к экзамену</a:t>
            </a:r>
          </a:p>
          <a:p>
            <a:pPr marL="0" lvl="0" indent="0" algn="ctr">
              <a:spcBef>
                <a:spcPts val="0"/>
              </a:spcBef>
              <a:buNone/>
            </a:pPr>
            <a:endParaRPr lang="ru-RU" sz="32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ctr">
              <a:spcBef>
                <a:spcPts val="0"/>
              </a:spcBef>
              <a:buNone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ниматься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тематикой нужно постоянно, </a:t>
            </a:r>
          </a:p>
          <a:p>
            <a:pPr marL="0" lvl="0" indent="0" algn="ctr">
              <a:spcBef>
                <a:spcPts val="0"/>
              </a:spcBef>
              <a:buNone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лательно каждый день, </a:t>
            </a:r>
          </a:p>
          <a:p>
            <a:pPr marL="0" lvl="0" indent="0" algn="ctr">
              <a:spcBef>
                <a:spcPts val="0"/>
              </a:spcBef>
              <a:buNone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едуя повторение тем с решением полных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риантов.</a:t>
            </a:r>
          </a:p>
          <a:p>
            <a:pPr marL="0" lvl="0" indent="0" algn="ctr">
              <a:spcBef>
                <a:spcPts val="0"/>
              </a:spcBef>
              <a:buNone/>
            </a:pP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ctr">
              <a:spcBef>
                <a:spcPts val="0"/>
              </a:spcBef>
              <a:buNone/>
            </a:pPr>
            <a:r>
              <a:rPr lang="ru-RU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ным 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мам надо уделить больше времени – обратиться к </a:t>
            </a:r>
            <a:r>
              <a:rPr lang="ru-RU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чебнику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еоурокам</a:t>
            </a:r>
            <a:r>
              <a:rPr lang="ru-RU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особиям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  <a:p>
            <a:pPr marL="0" lvl="0" indent="0" algn="ctr">
              <a:spcBef>
                <a:spcPts val="0"/>
              </a:spcBef>
              <a:buNone/>
            </a:pPr>
            <a:r>
              <a:rPr lang="ru-RU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ждом занятии нужно решать как задания по алгебре, так и задания по геометрии. </a:t>
            </a:r>
            <a:endParaRPr lang="ru-RU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ctr">
              <a:spcBef>
                <a:spcPts val="0"/>
              </a:spcBef>
              <a:buNone/>
            </a:pPr>
            <a:r>
              <a:rPr lang="ru-RU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жно </a:t>
            </a:r>
            <a:r>
              <a:rPr lang="ru-RU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капливать опыт решения </a:t>
            </a:r>
            <a:r>
              <a:rPr lang="ru-RU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ч!</a:t>
            </a:r>
            <a:endParaRPr lang="ru-RU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4529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>
              <a:defRPr/>
            </a:pPr>
            <a:r>
              <a:rPr lang="ru-RU" sz="3200" b="1" kern="1200" dirty="0">
                <a:solidFill>
                  <a:srgbClr val="9C5252">
                    <a:lumMod val="75000"/>
                  </a:srgbClr>
                </a:solidFill>
                <a:latin typeface="Arial Black" pitchFamily="34" charset="0"/>
                <a:ea typeface="Times New Roman"/>
                <a:cs typeface="Arial" pitchFamily="34" charset="0"/>
              </a:rPr>
              <a:t>ПРОБЛЕМЫ</a:t>
            </a:r>
            <a:r>
              <a:rPr lang="en-US" sz="3200" b="1" kern="1200" dirty="0">
                <a:solidFill>
                  <a:srgbClr val="2F5897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 Black" pitchFamily="34" charset="0"/>
                <a:cs typeface="Arial" pitchFamily="34" charset="0"/>
              </a:rPr>
              <a:t/>
            </a:r>
            <a:br>
              <a:rPr lang="en-US" sz="3200" b="1" kern="1200" dirty="0">
                <a:solidFill>
                  <a:srgbClr val="2F5897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Arial Black" pitchFamily="34" charset="0"/>
                <a:cs typeface="Arial" pitchFamily="34" charset="0"/>
              </a:rPr>
            </a:br>
            <a:endParaRPr lang="ru-RU" sz="3200" b="1" dirty="0">
              <a:solidFill>
                <a:schemeClr val="accent6">
                  <a:lumMod val="50000"/>
                </a:schemeClr>
              </a:solidFill>
              <a:latin typeface="Arial Black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500188" y="1341438"/>
            <a:ext cx="7491412" cy="5040312"/>
          </a:xfrm>
        </p:spPr>
        <p:txBody>
          <a:bodyPr/>
          <a:lstStyle/>
          <a:p>
            <a:pPr algn="just">
              <a:defRPr/>
            </a:pPr>
            <a:r>
              <a:rPr lang="ru-RU" sz="2000" dirty="0" smtClean="0"/>
              <a:t>Недостаточно организовано тренингов </a:t>
            </a:r>
            <a:r>
              <a:rPr lang="ru-RU" sz="2000" dirty="0"/>
              <a:t>по подготовке к </a:t>
            </a:r>
            <a:r>
              <a:rPr lang="ru-RU" sz="2000" dirty="0" smtClean="0"/>
              <a:t>ГИА по математике в формате ОГЭ, ЕГЭ (допускаются неточности  во внесении ответов в бланк ответов №1)</a:t>
            </a:r>
          </a:p>
          <a:p>
            <a:pPr marL="0" lvl="0" indent="0" algn="just">
              <a:buClr>
                <a:srgbClr val="999933"/>
              </a:buClr>
              <a:buNone/>
            </a:pPr>
            <a:r>
              <a:rPr lang="ru-RU" sz="1400" dirty="0" smtClean="0">
                <a:solidFill>
                  <a:srgbClr val="333300"/>
                </a:solidFill>
                <a:cs typeface="Times New Roman" pitchFamily="18" charset="0"/>
              </a:rPr>
              <a:t>	</a:t>
            </a:r>
            <a:r>
              <a:rPr lang="ru-RU" sz="2400" dirty="0" smtClean="0">
                <a:solidFill>
                  <a:srgbClr val="333300"/>
                </a:solidFill>
                <a:cs typeface="Times New Roman" pitchFamily="18" charset="0"/>
              </a:rPr>
              <a:t>на </a:t>
            </a:r>
            <a:r>
              <a:rPr lang="ru-RU" sz="2400" dirty="0">
                <a:solidFill>
                  <a:srgbClr val="333300"/>
                </a:solidFill>
                <a:cs typeface="Times New Roman" pitchFamily="18" charset="0"/>
              </a:rPr>
              <a:t>сайте </a:t>
            </a:r>
            <a:r>
              <a:rPr lang="ru-RU" sz="2400" dirty="0" err="1">
                <a:solidFill>
                  <a:srgbClr val="333300"/>
                </a:solidFill>
                <a:cs typeface="Times New Roman" pitchFamily="18" charset="0"/>
              </a:rPr>
              <a:t>СтатГрад</a:t>
            </a:r>
            <a:r>
              <a:rPr lang="ru-RU" sz="2400" dirty="0">
                <a:solidFill>
                  <a:srgbClr val="333300"/>
                </a:solidFill>
                <a:cs typeface="Times New Roman" pitchFamily="18" charset="0"/>
              </a:rPr>
              <a:t> </a:t>
            </a:r>
            <a:r>
              <a:rPr lang="ru-RU" sz="2400" dirty="0" smtClean="0">
                <a:solidFill>
                  <a:srgbClr val="333300"/>
                </a:solidFill>
                <a:cs typeface="Times New Roman" pitchFamily="18" charset="0"/>
              </a:rPr>
              <a:t> </a:t>
            </a:r>
            <a:r>
              <a:rPr lang="ru-RU" sz="2400" u="sng" dirty="0" smtClean="0">
                <a:solidFill>
                  <a:srgbClr val="0000FF"/>
                </a:solidFill>
                <a:cs typeface="Times New Roman" pitchFamily="18" charset="0"/>
                <a:hlinkClick r:id="rId2"/>
              </a:rPr>
              <a:t>https</a:t>
            </a:r>
            <a:r>
              <a:rPr lang="ru-RU" sz="2400" u="sng" dirty="0">
                <a:solidFill>
                  <a:srgbClr val="0000FF"/>
                </a:solidFill>
                <a:cs typeface="Times New Roman" pitchFamily="18" charset="0"/>
                <a:hlinkClick r:id="rId2"/>
              </a:rPr>
              <a:t>://statgrad.org</a:t>
            </a:r>
            <a:r>
              <a:rPr lang="ru-RU" sz="2400" u="sng" dirty="0" smtClean="0">
                <a:solidFill>
                  <a:srgbClr val="0000FF"/>
                </a:solidFill>
                <a:cs typeface="Times New Roman" pitchFamily="18" charset="0"/>
                <a:hlinkClick r:id="rId2"/>
              </a:rPr>
              <a:t>/</a:t>
            </a:r>
            <a:endParaRPr lang="ru-RU" sz="2400" u="sng" dirty="0" smtClean="0">
              <a:solidFill>
                <a:srgbClr val="0000FF"/>
              </a:solidFill>
              <a:cs typeface="Times New Roman" pitchFamily="18" charset="0"/>
            </a:endParaRPr>
          </a:p>
          <a:p>
            <a:pPr marL="0" lvl="0" indent="0" algn="just">
              <a:buClr>
                <a:srgbClr val="999933"/>
              </a:buClr>
              <a:buNone/>
            </a:pPr>
            <a:endParaRPr lang="ru-RU" sz="2000" dirty="0" smtClean="0"/>
          </a:p>
          <a:p>
            <a:pPr algn="just">
              <a:defRPr/>
            </a:pPr>
            <a:r>
              <a:rPr lang="ru-RU" sz="2000" dirty="0" smtClean="0"/>
              <a:t>Качество проверки диагностических работ  учителями математики (по результатам Мониторинга)</a:t>
            </a:r>
          </a:p>
          <a:p>
            <a:pPr algn="just">
              <a:defRPr/>
            </a:pPr>
            <a:endParaRPr lang="ru-RU" sz="2000" dirty="0" smtClean="0"/>
          </a:p>
        </p:txBody>
      </p:sp>
    </p:spTree>
    <p:extLst>
      <p:ext uri="{BB962C8B-B14F-4D97-AF65-F5344CB8AC3E}">
        <p14:creationId xmlns:p14="http://schemas.microsoft.com/office/powerpoint/2010/main" val="361417218"/>
      </p:ext>
    </p:extLst>
  </p:cSld>
  <p:clrMapOvr>
    <a:masterClrMapping/>
  </p:clrMapOvr>
  <p:transition spd="med">
    <p:strips dir="ru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 noGrp="1"/>
          </p:cNvSpPr>
          <p:nvPr>
            <p:ph type="title"/>
          </p:nvPr>
        </p:nvSpPr>
        <p:spPr>
          <a:xfrm>
            <a:off x="1500188" y="228600"/>
            <a:ext cx="7491412" cy="1040160"/>
          </a:xfrm>
        </p:spPr>
        <p:txBody>
          <a:bodyPr/>
          <a:lstStyle/>
          <a:p>
            <a:pPr marL="342900" indent="-342900" algn="ctr">
              <a:spcBef>
                <a:spcPts val="1200"/>
              </a:spcBef>
            </a:pPr>
            <a:r>
              <a:rPr lang="ru-RU" sz="3200" b="1" kern="1200" dirty="0" smtClean="0">
                <a:solidFill>
                  <a:srgbClr val="9C5252">
                    <a:lumMod val="75000"/>
                  </a:srgbClr>
                </a:solidFill>
                <a:latin typeface="Arial Black" pitchFamily="34" charset="0"/>
                <a:ea typeface="Times New Roman"/>
                <a:cs typeface="Arial" pitchFamily="34" charset="0"/>
              </a:rPr>
              <a:t>ОБЩИЕ РЕКОМЕНДАЦИИ</a:t>
            </a:r>
            <a:endParaRPr lang="ru-RU" sz="3200" b="1" dirty="0" smtClean="0">
              <a:solidFill>
                <a:srgbClr val="4F81BD"/>
              </a:solidFill>
              <a:latin typeface="Arial Black" pitchFamily="34" charset="0"/>
              <a:cs typeface="Arial" pitchFamily="34" charset="0"/>
            </a:endParaRPr>
          </a:p>
        </p:txBody>
      </p:sp>
      <p:sp>
        <p:nvSpPr>
          <p:cNvPr id="16387" name="Объект 2"/>
          <p:cNvSpPr>
            <a:spLocks noGrp="1"/>
          </p:cNvSpPr>
          <p:nvPr>
            <p:ph idx="1"/>
          </p:nvPr>
        </p:nvSpPr>
        <p:spPr>
          <a:xfrm>
            <a:off x="1259632" y="1124744"/>
            <a:ext cx="7732712" cy="5472608"/>
          </a:xfrm>
        </p:spPr>
        <p:txBody>
          <a:bodyPr/>
          <a:lstStyle/>
          <a:p>
            <a:pPr algn="just"/>
            <a:r>
              <a:rPr lang="ru-RU" sz="1400" dirty="0" smtClean="0">
                <a:cs typeface="Times New Roman" pitchFamily="18" charset="0"/>
              </a:rPr>
              <a:t>изучение  нормативных документов Министерства образования и науки РФ, методических писем и рекомендаций ФИПИ : </a:t>
            </a:r>
            <a:r>
              <a:rPr lang="ru-RU" sz="1600" i="1" u="sng" dirty="0" smtClean="0">
                <a:solidFill>
                  <a:srgbClr val="0000FF"/>
                </a:solidFill>
                <a:cs typeface="Times New Roman" pitchFamily="18" charset="0"/>
                <a:hlinkClick r:id="rId2"/>
              </a:rPr>
              <a:t>http://www.fipi.ru/</a:t>
            </a:r>
            <a:r>
              <a:rPr lang="ru-RU" sz="1600" i="1" dirty="0" smtClean="0">
                <a:cs typeface="Times New Roman" pitchFamily="18" charset="0"/>
              </a:rPr>
              <a:t> </a:t>
            </a:r>
          </a:p>
          <a:p>
            <a:pPr algn="just"/>
            <a:r>
              <a:rPr lang="ru-RU" sz="1400" dirty="0" smtClean="0">
                <a:cs typeface="Times New Roman" pitchFamily="18" charset="0"/>
              </a:rPr>
              <a:t>включение в учебный план общеобразовательной организации факультативных курсов, стимулирующие интерес к предмету и развивающие математические способности, начиная с 5 класса, а на ступени начального образования из внеурочной деятельности выделить 1 час на решение нестандартных задач и задач повышенной сложности (</a:t>
            </a:r>
            <a:r>
              <a:rPr lang="ru-RU" sz="1600" i="1" dirty="0" smtClean="0">
                <a:solidFill>
                  <a:schemeClr val="accent2">
                    <a:lumMod val="75000"/>
                  </a:schemeClr>
                </a:solidFill>
                <a:cs typeface="Times New Roman" pitchFamily="18" charset="0"/>
              </a:rPr>
              <a:t>использовать результаты НИКО и ВПР);</a:t>
            </a:r>
          </a:p>
          <a:p>
            <a:pPr algn="just"/>
            <a:r>
              <a:rPr lang="ru-RU" sz="1400" dirty="0" smtClean="0">
                <a:cs typeface="Times New Roman" pitchFamily="18" charset="0"/>
              </a:rPr>
              <a:t>организацию  текущего  и итогового контроля,  системы  выявления  и  ликвидации  пробелов  в  осваиваемых  математических  компетенциях,  начиная с 5 класса;</a:t>
            </a:r>
          </a:p>
          <a:p>
            <a:pPr algn="just"/>
            <a:r>
              <a:rPr lang="ru-RU" sz="1400" dirty="0" smtClean="0">
                <a:cs typeface="Times New Roman" pitchFamily="18" charset="0"/>
              </a:rPr>
              <a:t>проведение для обучающихся 9 и 11 классов диагностических работ,  размещенных на сайте </a:t>
            </a:r>
            <a:r>
              <a:rPr lang="ru-RU" sz="1400" dirty="0" err="1" smtClean="0">
                <a:cs typeface="Times New Roman" pitchFamily="18" charset="0"/>
              </a:rPr>
              <a:t>СтатГрад</a:t>
            </a:r>
            <a:r>
              <a:rPr lang="ru-RU" sz="1400" dirty="0" smtClean="0">
                <a:cs typeface="Times New Roman" pitchFamily="18" charset="0"/>
              </a:rPr>
              <a:t>  (</a:t>
            </a:r>
            <a:r>
              <a:rPr lang="ru-RU" sz="1400" u="sng" dirty="0" smtClean="0">
                <a:solidFill>
                  <a:srgbClr val="0000FF"/>
                </a:solidFill>
                <a:cs typeface="Times New Roman" pitchFamily="18" charset="0"/>
                <a:hlinkClick r:id="rId3"/>
              </a:rPr>
              <a:t>https://statgrad.org/</a:t>
            </a:r>
            <a:r>
              <a:rPr lang="ru-RU" sz="1400" dirty="0" smtClean="0">
                <a:cs typeface="Times New Roman" pitchFamily="18" charset="0"/>
              </a:rPr>
              <a:t>);</a:t>
            </a:r>
          </a:p>
          <a:p>
            <a:pPr algn="just"/>
            <a:r>
              <a:rPr lang="ru-RU" sz="1400" dirty="0" smtClean="0">
                <a:cs typeface="Times New Roman" pitchFamily="18" charset="0"/>
              </a:rPr>
              <a:t>системную  поддержку  углубленного математического образования в 8–11 классах;</a:t>
            </a:r>
          </a:p>
          <a:p>
            <a:pPr algn="just"/>
            <a:r>
              <a:rPr lang="ru-RU" sz="1400" dirty="0" smtClean="0">
                <a:cs typeface="Times New Roman" pitchFamily="18" charset="0"/>
              </a:rPr>
              <a:t>увеличение количества часов на изучение математики из части учебного плана, самостоятельно формируемой участниками образовательных отношений и (или) предусмотреть включение в учебный план общеобразовательной организации </a:t>
            </a:r>
            <a:r>
              <a:rPr lang="ru-RU" sz="1400" b="0" dirty="0" smtClean="0">
                <a:cs typeface="Times New Roman" pitchFamily="18" charset="0"/>
              </a:rPr>
              <a:t>элективных курсов</a:t>
            </a:r>
            <a:r>
              <a:rPr lang="ru-RU" sz="1400" dirty="0" smtClean="0">
                <a:cs typeface="Times New Roman" pitchFamily="18" charset="0"/>
              </a:rPr>
              <a:t>, направленных на подготовку обучающихся к сдаче ГИА в  9 и 11 классах;</a:t>
            </a:r>
          </a:p>
          <a:p>
            <a:pPr algn="just"/>
            <a:r>
              <a:rPr lang="ru-RU" sz="1400" dirty="0" smtClean="0">
                <a:cs typeface="Times New Roman" pitchFamily="18" charset="0"/>
              </a:rPr>
              <a:t>Формирование </a:t>
            </a:r>
            <a:r>
              <a:rPr lang="ru-RU" sz="1400" i="1" dirty="0" smtClean="0">
                <a:solidFill>
                  <a:schemeClr val="accent2">
                    <a:lumMod val="75000"/>
                  </a:schemeClr>
                </a:solidFill>
                <a:cs typeface="Times New Roman" pitchFamily="18" charset="0"/>
              </a:rPr>
              <a:t>функциональной грамотности </a:t>
            </a:r>
            <a:r>
              <a:rPr lang="ru-RU" sz="1400" dirty="0" smtClean="0">
                <a:cs typeface="Times New Roman" pitchFamily="18" charset="0"/>
              </a:rPr>
              <a:t>школьников (в том числе математической)</a:t>
            </a:r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28760750"/>
      </p:ext>
    </p:extLst>
  </p:cSld>
  <p:clrMapOvr>
    <a:masterClrMapping/>
  </p:clrMapOvr>
  <p:transition spd="med">
    <p:strips dir="ru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4858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394269" y="197121"/>
            <a:ext cx="7213663" cy="340478"/>
          </a:xfrm>
          <a:prstGeom prst="rect">
            <a:avLst/>
          </a:prstGeom>
        </p:spPr>
        <p:txBody>
          <a:bodyPr vert="horz" wrap="square" lIns="0" tIns="1714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35"/>
              </a:spcBef>
            </a:pPr>
            <a:r>
              <a:rPr sz="2100" b="0" u="sng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2"/>
              </a:rPr>
              <a:t>Математическая</a:t>
            </a:r>
            <a:r>
              <a:rPr sz="2100" u="sng" spc="140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2100" u="sng" spc="-5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2"/>
              </a:rPr>
              <a:t>грамотность.</a:t>
            </a:r>
            <a:r>
              <a:rPr sz="2100" u="sng" spc="125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2100" u="sng" spc="10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2"/>
              </a:rPr>
              <a:t>Полезные</a:t>
            </a:r>
            <a:r>
              <a:rPr sz="2100" u="sng" spc="-10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2"/>
              </a:rPr>
              <a:t> </a:t>
            </a:r>
            <a:r>
              <a:rPr sz="2100" u="sng" spc="5" dirty="0">
                <a:solidFill>
                  <a:schemeClr val="accent2">
                    <a:lumMod val="50000"/>
                  </a:schemeClr>
                </a:solidFill>
                <a:uFill>
                  <a:solidFill>
                    <a:srgbClr val="0462C1"/>
                  </a:solidFill>
                </a:uFill>
                <a:latin typeface="Arial"/>
                <a:cs typeface="Arial"/>
                <a:hlinkClick r:id="rId2"/>
              </a:rPr>
              <a:t>материалы</a:t>
            </a:r>
            <a:endParaRPr sz="2100" dirty="0">
              <a:solidFill>
                <a:schemeClr val="accent2">
                  <a:lumMod val="50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8607933" y="589787"/>
            <a:ext cx="535781" cy="0"/>
          </a:xfrm>
          <a:custGeom>
            <a:avLst/>
            <a:gdLst/>
            <a:ahLst/>
            <a:cxnLst/>
            <a:rect l="l" t="t" r="r" b="b"/>
            <a:pathLst>
              <a:path w="714375">
                <a:moveTo>
                  <a:pt x="0" y="0"/>
                </a:moveTo>
                <a:lnTo>
                  <a:pt x="713866" y="0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182880" y="402336"/>
            <a:ext cx="363855" cy="27940"/>
          </a:xfrm>
          <a:custGeom>
            <a:avLst/>
            <a:gdLst/>
            <a:ahLst/>
            <a:cxnLst/>
            <a:rect l="l" t="t" r="r" b="b"/>
            <a:pathLst>
              <a:path w="485140" h="27940">
                <a:moveTo>
                  <a:pt x="483349" y="0"/>
                </a:moveTo>
                <a:lnTo>
                  <a:pt x="0" y="0"/>
                </a:lnTo>
                <a:lnTo>
                  <a:pt x="0" y="27431"/>
                </a:lnTo>
                <a:lnTo>
                  <a:pt x="484631" y="27431"/>
                </a:lnTo>
                <a:lnTo>
                  <a:pt x="483349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765810" y="402336"/>
            <a:ext cx="361474" cy="27940"/>
          </a:xfrm>
          <a:custGeom>
            <a:avLst/>
            <a:gdLst/>
            <a:ahLst/>
            <a:cxnLst/>
            <a:rect l="l" t="t" r="r" b="b"/>
            <a:pathLst>
              <a:path w="481965" h="27940">
                <a:moveTo>
                  <a:pt x="481583" y="0"/>
                </a:moveTo>
                <a:lnTo>
                  <a:pt x="2870" y="0"/>
                </a:lnTo>
                <a:lnTo>
                  <a:pt x="0" y="27431"/>
                </a:lnTo>
                <a:lnTo>
                  <a:pt x="481583" y="27431"/>
                </a:lnTo>
                <a:lnTo>
                  <a:pt x="481583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7" name="object 7"/>
          <p:cNvGrpSpPr/>
          <p:nvPr/>
        </p:nvGrpSpPr>
        <p:grpSpPr>
          <a:xfrm>
            <a:off x="180594" y="499872"/>
            <a:ext cx="951071" cy="134620"/>
            <a:chOff x="240791" y="499872"/>
            <a:chExt cx="1268095" cy="134620"/>
          </a:xfrm>
        </p:grpSpPr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240791" y="499872"/>
              <a:ext cx="204215" cy="103631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466343" y="499872"/>
              <a:ext cx="100584" cy="106679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91311" y="499872"/>
              <a:ext cx="94487" cy="106679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707136" y="499872"/>
              <a:ext cx="79248" cy="10363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0768" y="499872"/>
              <a:ext cx="347472" cy="134112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179575" y="499872"/>
              <a:ext cx="329184" cy="103631"/>
            </a:xfrm>
            <a:prstGeom prst="rect">
              <a:avLst/>
            </a:prstGeom>
          </p:spPr>
        </p:pic>
      </p:grpSp>
      <p:sp>
        <p:nvSpPr>
          <p:cNvPr id="14" name="object 14"/>
          <p:cNvSpPr/>
          <p:nvPr/>
        </p:nvSpPr>
        <p:spPr>
          <a:xfrm>
            <a:off x="580644" y="195071"/>
            <a:ext cx="150971" cy="256540"/>
          </a:xfrm>
          <a:custGeom>
            <a:avLst/>
            <a:gdLst/>
            <a:ahLst/>
            <a:cxnLst/>
            <a:rect l="l" t="t" r="r" b="b"/>
            <a:pathLst>
              <a:path w="201294" h="256540">
                <a:moveTo>
                  <a:pt x="101219" y="0"/>
                </a:moveTo>
                <a:lnTo>
                  <a:pt x="0" y="28067"/>
                </a:lnTo>
                <a:lnTo>
                  <a:pt x="13411" y="220979"/>
                </a:lnTo>
                <a:lnTo>
                  <a:pt x="51092" y="236474"/>
                </a:lnTo>
                <a:lnTo>
                  <a:pt x="101219" y="256031"/>
                </a:lnTo>
                <a:lnTo>
                  <a:pt x="132145" y="243458"/>
                </a:lnTo>
                <a:lnTo>
                  <a:pt x="101219" y="243458"/>
                </a:lnTo>
                <a:lnTo>
                  <a:pt x="51092" y="223647"/>
                </a:lnTo>
                <a:lnTo>
                  <a:pt x="24269" y="212725"/>
                </a:lnTo>
                <a:lnTo>
                  <a:pt x="17564" y="127380"/>
                </a:lnTo>
                <a:lnTo>
                  <a:pt x="37140" y="127380"/>
                </a:lnTo>
                <a:lnTo>
                  <a:pt x="51092" y="103504"/>
                </a:lnTo>
                <a:lnTo>
                  <a:pt x="61950" y="85344"/>
                </a:lnTo>
                <a:lnTo>
                  <a:pt x="33528" y="85344"/>
                </a:lnTo>
                <a:lnTo>
                  <a:pt x="33528" y="61468"/>
                </a:lnTo>
                <a:lnTo>
                  <a:pt x="32245" y="30733"/>
                </a:lnTo>
                <a:lnTo>
                  <a:pt x="51092" y="25146"/>
                </a:lnTo>
                <a:lnTo>
                  <a:pt x="71526" y="19557"/>
                </a:lnTo>
                <a:lnTo>
                  <a:pt x="101219" y="19557"/>
                </a:lnTo>
                <a:lnTo>
                  <a:pt x="101219" y="11302"/>
                </a:lnTo>
                <a:lnTo>
                  <a:pt x="141469" y="11302"/>
                </a:lnTo>
                <a:lnTo>
                  <a:pt x="101219" y="0"/>
                </a:lnTo>
                <a:close/>
              </a:path>
              <a:path w="201294" h="256540">
                <a:moveTo>
                  <a:pt x="130924" y="46354"/>
                </a:moveTo>
                <a:lnTo>
                  <a:pt x="129641" y="131318"/>
                </a:lnTo>
                <a:lnTo>
                  <a:pt x="101219" y="132969"/>
                </a:lnTo>
                <a:lnTo>
                  <a:pt x="101219" y="243458"/>
                </a:lnTo>
                <a:lnTo>
                  <a:pt x="132145" y="243458"/>
                </a:lnTo>
                <a:lnTo>
                  <a:pt x="187439" y="220979"/>
                </a:lnTo>
                <a:lnTo>
                  <a:pt x="194009" y="128650"/>
                </a:lnTo>
                <a:lnTo>
                  <a:pt x="157746" y="128650"/>
                </a:lnTo>
                <a:lnTo>
                  <a:pt x="161886" y="51561"/>
                </a:lnTo>
                <a:lnTo>
                  <a:pt x="130924" y="46354"/>
                </a:lnTo>
                <a:close/>
              </a:path>
              <a:path w="201294" h="256540">
                <a:moveTo>
                  <a:pt x="101219" y="67182"/>
                </a:moveTo>
                <a:lnTo>
                  <a:pt x="72809" y="67182"/>
                </a:lnTo>
                <a:lnTo>
                  <a:pt x="71526" y="90931"/>
                </a:lnTo>
                <a:lnTo>
                  <a:pt x="72809" y="131318"/>
                </a:lnTo>
                <a:lnTo>
                  <a:pt x="101219" y="132969"/>
                </a:lnTo>
                <a:lnTo>
                  <a:pt x="101219" y="67182"/>
                </a:lnTo>
                <a:close/>
              </a:path>
              <a:path w="201294" h="256540">
                <a:moveTo>
                  <a:pt x="37140" y="127380"/>
                </a:moveTo>
                <a:lnTo>
                  <a:pt x="17564" y="127380"/>
                </a:lnTo>
                <a:lnTo>
                  <a:pt x="36398" y="128650"/>
                </a:lnTo>
                <a:lnTo>
                  <a:pt x="37140" y="127380"/>
                </a:lnTo>
                <a:close/>
              </a:path>
              <a:path w="201294" h="256540">
                <a:moveTo>
                  <a:pt x="141469" y="11302"/>
                </a:moveTo>
                <a:lnTo>
                  <a:pt x="101219" y="11302"/>
                </a:lnTo>
                <a:lnTo>
                  <a:pt x="190309" y="36449"/>
                </a:lnTo>
                <a:lnTo>
                  <a:pt x="183603" y="127380"/>
                </a:lnTo>
                <a:lnTo>
                  <a:pt x="157746" y="128650"/>
                </a:lnTo>
                <a:lnTo>
                  <a:pt x="194009" y="128650"/>
                </a:lnTo>
                <a:lnTo>
                  <a:pt x="201167" y="28067"/>
                </a:lnTo>
                <a:lnTo>
                  <a:pt x="141469" y="11302"/>
                </a:lnTo>
                <a:close/>
              </a:path>
              <a:path w="201294" h="256540">
                <a:moveTo>
                  <a:pt x="101219" y="19557"/>
                </a:moveTo>
                <a:lnTo>
                  <a:pt x="71526" y="19557"/>
                </a:lnTo>
                <a:lnTo>
                  <a:pt x="51092" y="53212"/>
                </a:lnTo>
                <a:lnTo>
                  <a:pt x="33528" y="85344"/>
                </a:lnTo>
                <a:lnTo>
                  <a:pt x="61950" y="85344"/>
                </a:lnTo>
                <a:lnTo>
                  <a:pt x="72809" y="67182"/>
                </a:lnTo>
                <a:lnTo>
                  <a:pt x="101219" y="67182"/>
                </a:lnTo>
                <a:lnTo>
                  <a:pt x="101219" y="1955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1315592" y="0"/>
            <a:ext cx="0" cy="604520"/>
          </a:xfrm>
          <a:custGeom>
            <a:avLst/>
            <a:gdLst/>
            <a:ahLst/>
            <a:cxnLst/>
            <a:rect l="l" t="t" r="r" b="b"/>
            <a:pathLst>
              <a:path h="604520">
                <a:moveTo>
                  <a:pt x="0" y="0"/>
                </a:moveTo>
                <a:lnTo>
                  <a:pt x="0" y="604265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5868144" y="1112615"/>
            <a:ext cx="2281351" cy="3215640"/>
            <a:chOff x="7531276" y="668764"/>
            <a:chExt cx="2541905" cy="3215640"/>
          </a:xfrm>
        </p:grpSpPr>
        <p:pic>
          <p:nvPicPr>
            <p:cNvPr id="17" name="object 17">
              <a:hlinkClick r:id="rId9"/>
            </p:cNvPr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531276" y="668764"/>
              <a:ext cx="2541601" cy="3215421"/>
            </a:xfrm>
            <a:prstGeom prst="rect">
              <a:avLst/>
            </a:prstGeom>
          </p:spPr>
        </p:pic>
        <p:pic>
          <p:nvPicPr>
            <p:cNvPr id="18" name="object 18">
              <a:hlinkClick r:id="rId9"/>
            </p:cNvPr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7653528" y="829055"/>
              <a:ext cx="2045207" cy="2718816"/>
            </a:xfrm>
            <a:prstGeom prst="rect">
              <a:avLst/>
            </a:prstGeom>
          </p:spPr>
        </p:pic>
        <p:pic>
          <p:nvPicPr>
            <p:cNvPr id="19" name="object 19">
              <a:hlinkClick r:id="rId9"/>
            </p:cNvPr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8107680" y="3398519"/>
              <a:ext cx="432816" cy="441959"/>
            </a:xfrm>
            <a:prstGeom prst="rect">
              <a:avLst/>
            </a:prstGeom>
          </p:spPr>
        </p:pic>
      </p:grpSp>
      <p:pic>
        <p:nvPicPr>
          <p:cNvPr id="20" name="object 20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6334755" y="4496876"/>
            <a:ext cx="1167231" cy="1236380"/>
          </a:xfrm>
          <a:prstGeom prst="rect">
            <a:avLst/>
          </a:prstGeom>
        </p:spPr>
      </p:pic>
      <p:grpSp>
        <p:nvGrpSpPr>
          <p:cNvPr id="21" name="object 21"/>
          <p:cNvGrpSpPr/>
          <p:nvPr/>
        </p:nvGrpSpPr>
        <p:grpSpPr>
          <a:xfrm>
            <a:off x="1219087" y="1077432"/>
            <a:ext cx="4339894" cy="5740321"/>
            <a:chOff x="2175404" y="649224"/>
            <a:chExt cx="5236570" cy="6168492"/>
          </a:xfrm>
        </p:grpSpPr>
        <p:pic>
          <p:nvPicPr>
            <p:cNvPr id="22" name="object 22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2256615" y="687031"/>
              <a:ext cx="2523966" cy="3175838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2417063" y="847344"/>
              <a:ext cx="2026919" cy="2679191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4757927" y="649224"/>
              <a:ext cx="2599308" cy="3251454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4956048" y="847344"/>
              <a:ext cx="2026920" cy="2679191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2175404" y="3102992"/>
              <a:ext cx="2650997" cy="3315589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2362200" y="3700271"/>
              <a:ext cx="2078736" cy="2743200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4760976" y="3502127"/>
              <a:ext cx="2650998" cy="3315589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4959095" y="3700271"/>
              <a:ext cx="2078736" cy="2743200"/>
            </a:xfrm>
            <a:prstGeom prst="rect">
              <a:avLst/>
            </a:prstGeom>
          </p:spPr>
        </p:pic>
      </p:grpSp>
      <p:sp>
        <p:nvSpPr>
          <p:cNvPr id="31" name="object 31"/>
          <p:cNvSpPr txBox="1"/>
          <p:nvPr/>
        </p:nvSpPr>
        <p:spPr>
          <a:xfrm>
            <a:off x="94031" y="6553301"/>
            <a:ext cx="1777365" cy="282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55"/>
              </a:lnSpc>
            </a:pPr>
            <a:r>
              <a:rPr sz="1000" spc="5" dirty="0">
                <a:solidFill>
                  <a:srgbClr val="A6A6A6"/>
                </a:solidFill>
                <a:cs typeface="Calibri"/>
              </a:rPr>
              <a:t>©</a:t>
            </a:r>
            <a:r>
              <a:rPr sz="1000" spc="-15" dirty="0">
                <a:solidFill>
                  <a:srgbClr val="A6A6A6"/>
                </a:solidFill>
                <a:cs typeface="Calibri"/>
              </a:rPr>
              <a:t> </a:t>
            </a:r>
            <a:r>
              <a:rPr sz="1000" spc="-10" dirty="0">
                <a:solidFill>
                  <a:srgbClr val="A6A6A6"/>
                </a:solidFill>
                <a:cs typeface="Calibri"/>
              </a:rPr>
              <a:t>А</a:t>
            </a:r>
            <a:r>
              <a:rPr sz="1000" spc="5" dirty="0">
                <a:solidFill>
                  <a:srgbClr val="A6A6A6"/>
                </a:solidFill>
                <a:cs typeface="Calibri"/>
              </a:rPr>
              <a:t>О</a:t>
            </a:r>
            <a:r>
              <a:rPr sz="1000" spc="-10" dirty="0">
                <a:solidFill>
                  <a:srgbClr val="A6A6A6"/>
                </a:solidFill>
                <a:cs typeface="Calibri"/>
              </a:rPr>
              <a:t> </a:t>
            </a:r>
            <a:r>
              <a:rPr sz="1000" spc="10" dirty="0">
                <a:solidFill>
                  <a:srgbClr val="A6A6A6"/>
                </a:solidFill>
                <a:cs typeface="Calibri"/>
              </a:rPr>
              <a:t>«</a:t>
            </a:r>
            <a:r>
              <a:rPr sz="1000" spc="5" dirty="0">
                <a:solidFill>
                  <a:srgbClr val="A6A6A6"/>
                </a:solidFill>
                <a:cs typeface="Calibri"/>
              </a:rPr>
              <a:t>Из</a:t>
            </a:r>
            <a:r>
              <a:rPr sz="1000" spc="-15" dirty="0">
                <a:solidFill>
                  <a:srgbClr val="A6A6A6"/>
                </a:solidFill>
                <a:cs typeface="Calibri"/>
              </a:rPr>
              <a:t>д</a:t>
            </a:r>
            <a:r>
              <a:rPr sz="1000" dirty="0">
                <a:solidFill>
                  <a:srgbClr val="A6A6A6"/>
                </a:solidFill>
                <a:cs typeface="Calibri"/>
              </a:rPr>
              <a:t>а</a:t>
            </a:r>
            <a:r>
              <a:rPr sz="1000" spc="-10" dirty="0">
                <a:solidFill>
                  <a:srgbClr val="A6A6A6"/>
                </a:solidFill>
                <a:cs typeface="Calibri"/>
              </a:rPr>
              <a:t>т</a:t>
            </a:r>
            <a:r>
              <a:rPr sz="1000" dirty="0">
                <a:solidFill>
                  <a:srgbClr val="A6A6A6"/>
                </a:solidFill>
                <a:cs typeface="Calibri"/>
              </a:rPr>
              <a:t>е</a:t>
            </a:r>
            <a:r>
              <a:rPr sz="1000" spc="-10" dirty="0">
                <a:solidFill>
                  <a:srgbClr val="A6A6A6"/>
                </a:solidFill>
                <a:cs typeface="Calibri"/>
              </a:rPr>
              <a:t>л</a:t>
            </a:r>
            <a:r>
              <a:rPr sz="1000" spc="5" dirty="0">
                <a:solidFill>
                  <a:srgbClr val="A6A6A6"/>
                </a:solidFill>
                <a:cs typeface="Calibri"/>
              </a:rPr>
              <a:t>ьс</a:t>
            </a:r>
            <a:r>
              <a:rPr sz="1000" spc="-10" dirty="0">
                <a:solidFill>
                  <a:srgbClr val="A6A6A6"/>
                </a:solidFill>
                <a:cs typeface="Calibri"/>
              </a:rPr>
              <a:t>т</a:t>
            </a:r>
            <a:r>
              <a:rPr sz="1000" dirty="0">
                <a:solidFill>
                  <a:srgbClr val="A6A6A6"/>
                </a:solidFill>
                <a:cs typeface="Calibri"/>
              </a:rPr>
              <a:t>во</a:t>
            </a:r>
            <a:r>
              <a:rPr sz="1000" spc="-45" dirty="0">
                <a:solidFill>
                  <a:srgbClr val="A6A6A6"/>
                </a:solidFill>
                <a:cs typeface="Calibri"/>
              </a:rPr>
              <a:t> </a:t>
            </a:r>
            <a:r>
              <a:rPr sz="1000" spc="10" dirty="0">
                <a:solidFill>
                  <a:srgbClr val="A6A6A6"/>
                </a:solidFill>
                <a:cs typeface="Calibri"/>
              </a:rPr>
              <a:t>«</a:t>
            </a:r>
            <a:r>
              <a:rPr sz="1000" spc="5" dirty="0">
                <a:solidFill>
                  <a:srgbClr val="A6A6A6"/>
                </a:solidFill>
                <a:cs typeface="Calibri"/>
              </a:rPr>
              <a:t>П</a:t>
            </a:r>
            <a:r>
              <a:rPr sz="1000" spc="-5" dirty="0">
                <a:solidFill>
                  <a:srgbClr val="A6A6A6"/>
                </a:solidFill>
                <a:cs typeface="Calibri"/>
              </a:rPr>
              <a:t>ро</a:t>
            </a:r>
            <a:r>
              <a:rPr sz="1000" spc="5" dirty="0">
                <a:solidFill>
                  <a:srgbClr val="A6A6A6"/>
                </a:solidFill>
                <a:cs typeface="Calibri"/>
              </a:rPr>
              <a:t>с</a:t>
            </a:r>
            <a:r>
              <a:rPr sz="1000" dirty="0">
                <a:solidFill>
                  <a:srgbClr val="A6A6A6"/>
                </a:solidFill>
                <a:cs typeface="Calibri"/>
              </a:rPr>
              <a:t>ве</a:t>
            </a:r>
            <a:r>
              <a:rPr sz="1000" spc="-10" dirty="0">
                <a:solidFill>
                  <a:srgbClr val="A6A6A6"/>
                </a:solidFill>
                <a:cs typeface="Calibri"/>
              </a:rPr>
              <a:t>щ</a:t>
            </a:r>
            <a:r>
              <a:rPr sz="1000" dirty="0">
                <a:solidFill>
                  <a:srgbClr val="A6A6A6"/>
                </a:solidFill>
                <a:cs typeface="Calibri"/>
              </a:rPr>
              <a:t>е</a:t>
            </a:r>
            <a:r>
              <a:rPr sz="1000" spc="-10" dirty="0">
                <a:solidFill>
                  <a:srgbClr val="A6A6A6"/>
                </a:solidFill>
                <a:cs typeface="Calibri"/>
              </a:rPr>
              <a:t>н</a:t>
            </a:r>
            <a:r>
              <a:rPr sz="1000" spc="5" dirty="0">
                <a:solidFill>
                  <a:srgbClr val="A6A6A6"/>
                </a:solidFill>
                <a:cs typeface="Calibri"/>
              </a:rPr>
              <a:t>и</a:t>
            </a:r>
            <a:r>
              <a:rPr sz="1000" dirty="0">
                <a:solidFill>
                  <a:srgbClr val="A6A6A6"/>
                </a:solidFill>
                <a:cs typeface="Calibri"/>
              </a:rPr>
              <a:t>е</a:t>
            </a:r>
            <a:r>
              <a:rPr sz="1000" spc="10" dirty="0">
                <a:solidFill>
                  <a:srgbClr val="A6A6A6"/>
                </a:solidFill>
                <a:cs typeface="Calibri"/>
              </a:rPr>
              <a:t>»</a:t>
            </a:r>
            <a:r>
              <a:rPr sz="1000" dirty="0">
                <a:solidFill>
                  <a:srgbClr val="A6A6A6"/>
                </a:solidFill>
                <a:cs typeface="Calibri"/>
              </a:rPr>
              <a:t>,</a:t>
            </a:r>
            <a:r>
              <a:rPr sz="1000" spc="-70" dirty="0">
                <a:solidFill>
                  <a:srgbClr val="A6A6A6"/>
                </a:solidFill>
                <a:cs typeface="Calibri"/>
              </a:rPr>
              <a:t> </a:t>
            </a:r>
            <a:r>
              <a:rPr sz="1000" spc="-10" dirty="0">
                <a:solidFill>
                  <a:srgbClr val="A6A6A6"/>
                </a:solidFill>
                <a:cs typeface="Calibri"/>
              </a:rPr>
              <a:t>202</a:t>
            </a:r>
            <a:r>
              <a:rPr sz="1000" dirty="0">
                <a:solidFill>
                  <a:srgbClr val="A6A6A6"/>
                </a:solidFill>
                <a:cs typeface="Calibri"/>
              </a:rPr>
              <a:t>1</a:t>
            </a:r>
            <a:endParaRPr sz="1000">
              <a:solidFill>
                <a:prstClr val="black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6277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3"/>
          <p:cNvGrpSpPr/>
          <p:nvPr/>
        </p:nvGrpSpPr>
        <p:grpSpPr>
          <a:xfrm>
            <a:off x="6745985" y="560832"/>
            <a:ext cx="2397443" cy="3514725"/>
            <a:chOff x="8994647" y="560831"/>
            <a:chExt cx="3196590" cy="3514725"/>
          </a:xfrm>
        </p:grpSpPr>
        <p:sp>
          <p:nvSpPr>
            <p:cNvPr id="4" name="object 4"/>
            <p:cNvSpPr/>
            <p:nvPr/>
          </p:nvSpPr>
          <p:spPr>
            <a:xfrm>
              <a:off x="11477243" y="589787"/>
              <a:ext cx="714375" cy="0"/>
            </a:xfrm>
            <a:custGeom>
              <a:avLst/>
              <a:gdLst/>
              <a:ahLst/>
              <a:cxnLst/>
              <a:rect l="l" t="t" r="r" b="b"/>
              <a:pathLst>
                <a:path w="714375">
                  <a:moveTo>
                    <a:pt x="0" y="0"/>
                  </a:moveTo>
                  <a:lnTo>
                    <a:pt x="713866" y="0"/>
                  </a:lnTo>
                </a:path>
              </a:pathLst>
            </a:custGeom>
            <a:ln w="9144">
              <a:solidFill>
                <a:srgbClr val="2C2B8D"/>
              </a:solidFill>
            </a:ln>
          </p:spPr>
          <p:txBody>
            <a:bodyPr wrap="square" lIns="0" tIns="0" rIns="0" bIns="0" rtlCol="0"/>
            <a:lstStyle/>
            <a:p>
              <a:endParaRPr>
                <a:solidFill>
                  <a:prstClr val="black"/>
                </a:solidFill>
              </a:endParaRPr>
            </a:p>
          </p:txBody>
        </p:sp>
        <p:pic>
          <p:nvPicPr>
            <p:cNvPr id="5" name="object 5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994647" y="3648455"/>
              <a:ext cx="3057899" cy="426719"/>
            </a:xfrm>
            <a:prstGeom prst="rect">
              <a:avLst/>
            </a:prstGeom>
          </p:spPr>
        </p:pic>
        <p:pic>
          <p:nvPicPr>
            <p:cNvPr id="6" name="object 6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9198863" y="560831"/>
              <a:ext cx="2650998" cy="3312287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9396983" y="758952"/>
              <a:ext cx="2078735" cy="2740152"/>
            </a:xfrm>
            <a:prstGeom prst="rect">
              <a:avLst/>
            </a:prstGeom>
          </p:spPr>
        </p:pic>
      </p:grpSp>
      <p:sp>
        <p:nvSpPr>
          <p:cNvPr id="8" name="object 8"/>
          <p:cNvSpPr/>
          <p:nvPr/>
        </p:nvSpPr>
        <p:spPr>
          <a:xfrm>
            <a:off x="182880" y="402336"/>
            <a:ext cx="363855" cy="27940"/>
          </a:xfrm>
          <a:custGeom>
            <a:avLst/>
            <a:gdLst/>
            <a:ahLst/>
            <a:cxnLst/>
            <a:rect l="l" t="t" r="r" b="b"/>
            <a:pathLst>
              <a:path w="485140" h="27940">
                <a:moveTo>
                  <a:pt x="483349" y="0"/>
                </a:moveTo>
                <a:lnTo>
                  <a:pt x="0" y="0"/>
                </a:lnTo>
                <a:lnTo>
                  <a:pt x="0" y="27431"/>
                </a:lnTo>
                <a:lnTo>
                  <a:pt x="484631" y="27431"/>
                </a:lnTo>
                <a:lnTo>
                  <a:pt x="483349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765810" y="402336"/>
            <a:ext cx="361474" cy="27940"/>
          </a:xfrm>
          <a:custGeom>
            <a:avLst/>
            <a:gdLst/>
            <a:ahLst/>
            <a:cxnLst/>
            <a:rect l="l" t="t" r="r" b="b"/>
            <a:pathLst>
              <a:path w="481965" h="27940">
                <a:moveTo>
                  <a:pt x="481583" y="0"/>
                </a:moveTo>
                <a:lnTo>
                  <a:pt x="2870" y="0"/>
                </a:lnTo>
                <a:lnTo>
                  <a:pt x="0" y="27431"/>
                </a:lnTo>
                <a:lnTo>
                  <a:pt x="481583" y="27431"/>
                </a:lnTo>
                <a:lnTo>
                  <a:pt x="481583" y="0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grpSp>
        <p:nvGrpSpPr>
          <p:cNvPr id="10" name="object 10"/>
          <p:cNvGrpSpPr/>
          <p:nvPr/>
        </p:nvGrpSpPr>
        <p:grpSpPr>
          <a:xfrm>
            <a:off x="180594" y="499872"/>
            <a:ext cx="951071" cy="134620"/>
            <a:chOff x="240791" y="499872"/>
            <a:chExt cx="1268095" cy="134620"/>
          </a:xfrm>
        </p:grpSpPr>
        <p:pic>
          <p:nvPicPr>
            <p:cNvPr id="11" name="object 11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240791" y="499872"/>
              <a:ext cx="204215" cy="103631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66343" y="499872"/>
              <a:ext cx="100584" cy="106679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91311" y="499872"/>
              <a:ext cx="94487" cy="106679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707136" y="499872"/>
              <a:ext cx="79248" cy="103631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810768" y="499872"/>
              <a:ext cx="347472" cy="134112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1179575" y="499872"/>
              <a:ext cx="329184" cy="103631"/>
            </a:xfrm>
            <a:prstGeom prst="rect">
              <a:avLst/>
            </a:prstGeom>
          </p:spPr>
        </p:pic>
      </p:grpSp>
      <p:sp>
        <p:nvSpPr>
          <p:cNvPr id="17" name="object 17"/>
          <p:cNvSpPr/>
          <p:nvPr/>
        </p:nvSpPr>
        <p:spPr>
          <a:xfrm>
            <a:off x="580644" y="195071"/>
            <a:ext cx="150971" cy="256540"/>
          </a:xfrm>
          <a:custGeom>
            <a:avLst/>
            <a:gdLst/>
            <a:ahLst/>
            <a:cxnLst/>
            <a:rect l="l" t="t" r="r" b="b"/>
            <a:pathLst>
              <a:path w="201294" h="256540">
                <a:moveTo>
                  <a:pt x="101219" y="0"/>
                </a:moveTo>
                <a:lnTo>
                  <a:pt x="0" y="28067"/>
                </a:lnTo>
                <a:lnTo>
                  <a:pt x="13411" y="220979"/>
                </a:lnTo>
                <a:lnTo>
                  <a:pt x="51092" y="236474"/>
                </a:lnTo>
                <a:lnTo>
                  <a:pt x="101219" y="256031"/>
                </a:lnTo>
                <a:lnTo>
                  <a:pt x="132145" y="243458"/>
                </a:lnTo>
                <a:lnTo>
                  <a:pt x="101219" y="243458"/>
                </a:lnTo>
                <a:lnTo>
                  <a:pt x="51092" y="223647"/>
                </a:lnTo>
                <a:lnTo>
                  <a:pt x="24269" y="212725"/>
                </a:lnTo>
                <a:lnTo>
                  <a:pt x="17564" y="127380"/>
                </a:lnTo>
                <a:lnTo>
                  <a:pt x="37140" y="127380"/>
                </a:lnTo>
                <a:lnTo>
                  <a:pt x="51092" y="103504"/>
                </a:lnTo>
                <a:lnTo>
                  <a:pt x="61950" y="85344"/>
                </a:lnTo>
                <a:lnTo>
                  <a:pt x="33528" y="85344"/>
                </a:lnTo>
                <a:lnTo>
                  <a:pt x="33528" y="61468"/>
                </a:lnTo>
                <a:lnTo>
                  <a:pt x="32245" y="30733"/>
                </a:lnTo>
                <a:lnTo>
                  <a:pt x="51092" y="25146"/>
                </a:lnTo>
                <a:lnTo>
                  <a:pt x="71526" y="19557"/>
                </a:lnTo>
                <a:lnTo>
                  <a:pt x="101219" y="19557"/>
                </a:lnTo>
                <a:lnTo>
                  <a:pt x="101219" y="11302"/>
                </a:lnTo>
                <a:lnTo>
                  <a:pt x="141469" y="11302"/>
                </a:lnTo>
                <a:lnTo>
                  <a:pt x="101219" y="0"/>
                </a:lnTo>
                <a:close/>
              </a:path>
              <a:path w="201294" h="256540">
                <a:moveTo>
                  <a:pt x="130924" y="46354"/>
                </a:moveTo>
                <a:lnTo>
                  <a:pt x="129641" y="131318"/>
                </a:lnTo>
                <a:lnTo>
                  <a:pt x="101219" y="132969"/>
                </a:lnTo>
                <a:lnTo>
                  <a:pt x="101219" y="243458"/>
                </a:lnTo>
                <a:lnTo>
                  <a:pt x="132145" y="243458"/>
                </a:lnTo>
                <a:lnTo>
                  <a:pt x="187439" y="220979"/>
                </a:lnTo>
                <a:lnTo>
                  <a:pt x="194009" y="128650"/>
                </a:lnTo>
                <a:lnTo>
                  <a:pt x="157746" y="128650"/>
                </a:lnTo>
                <a:lnTo>
                  <a:pt x="161886" y="51561"/>
                </a:lnTo>
                <a:lnTo>
                  <a:pt x="130924" y="46354"/>
                </a:lnTo>
                <a:close/>
              </a:path>
              <a:path w="201294" h="256540">
                <a:moveTo>
                  <a:pt x="101219" y="67182"/>
                </a:moveTo>
                <a:lnTo>
                  <a:pt x="72809" y="67182"/>
                </a:lnTo>
                <a:lnTo>
                  <a:pt x="71526" y="90931"/>
                </a:lnTo>
                <a:lnTo>
                  <a:pt x="72809" y="131318"/>
                </a:lnTo>
                <a:lnTo>
                  <a:pt x="101219" y="132969"/>
                </a:lnTo>
                <a:lnTo>
                  <a:pt x="101219" y="67182"/>
                </a:lnTo>
                <a:close/>
              </a:path>
              <a:path w="201294" h="256540">
                <a:moveTo>
                  <a:pt x="37140" y="127380"/>
                </a:moveTo>
                <a:lnTo>
                  <a:pt x="17564" y="127380"/>
                </a:lnTo>
                <a:lnTo>
                  <a:pt x="36398" y="128650"/>
                </a:lnTo>
                <a:lnTo>
                  <a:pt x="37140" y="127380"/>
                </a:lnTo>
                <a:close/>
              </a:path>
              <a:path w="201294" h="256540">
                <a:moveTo>
                  <a:pt x="141469" y="11302"/>
                </a:moveTo>
                <a:lnTo>
                  <a:pt x="101219" y="11302"/>
                </a:lnTo>
                <a:lnTo>
                  <a:pt x="190309" y="36449"/>
                </a:lnTo>
                <a:lnTo>
                  <a:pt x="183603" y="127380"/>
                </a:lnTo>
                <a:lnTo>
                  <a:pt x="157746" y="128650"/>
                </a:lnTo>
                <a:lnTo>
                  <a:pt x="194009" y="128650"/>
                </a:lnTo>
                <a:lnTo>
                  <a:pt x="201167" y="28067"/>
                </a:lnTo>
                <a:lnTo>
                  <a:pt x="141469" y="11302"/>
                </a:lnTo>
                <a:close/>
              </a:path>
              <a:path w="201294" h="256540">
                <a:moveTo>
                  <a:pt x="101219" y="19557"/>
                </a:moveTo>
                <a:lnTo>
                  <a:pt x="71526" y="19557"/>
                </a:lnTo>
                <a:lnTo>
                  <a:pt x="51092" y="53212"/>
                </a:lnTo>
                <a:lnTo>
                  <a:pt x="33528" y="85344"/>
                </a:lnTo>
                <a:lnTo>
                  <a:pt x="61950" y="85344"/>
                </a:lnTo>
                <a:lnTo>
                  <a:pt x="72809" y="67182"/>
                </a:lnTo>
                <a:lnTo>
                  <a:pt x="101219" y="67182"/>
                </a:lnTo>
                <a:lnTo>
                  <a:pt x="101219" y="19557"/>
                </a:lnTo>
                <a:close/>
              </a:path>
            </a:pathLst>
          </a:custGeom>
          <a:solidFill>
            <a:srgbClr val="2C2B8D"/>
          </a:solidFill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1315592" y="0"/>
            <a:ext cx="0" cy="604520"/>
          </a:xfrm>
          <a:custGeom>
            <a:avLst/>
            <a:gdLst/>
            <a:ahLst/>
            <a:cxnLst/>
            <a:rect l="l" t="t" r="r" b="b"/>
            <a:pathLst>
              <a:path h="604520">
                <a:moveTo>
                  <a:pt x="0" y="0"/>
                </a:moveTo>
                <a:lnTo>
                  <a:pt x="0" y="604265"/>
                </a:lnTo>
              </a:path>
            </a:pathLst>
          </a:custGeom>
          <a:ln w="9144">
            <a:solidFill>
              <a:srgbClr val="2C2B8D"/>
            </a:solidFill>
          </a:ln>
        </p:spPr>
        <p:txBody>
          <a:bodyPr wrap="square" lIns="0" tIns="0" rIns="0" bIns="0" rtlCol="0"/>
          <a:lstStyle/>
          <a:p>
            <a:endParaRPr>
              <a:solidFill>
                <a:prstClr val="black"/>
              </a:solidFill>
            </a:endParaRPr>
          </a:p>
        </p:txBody>
      </p:sp>
      <p:sp>
        <p:nvSpPr>
          <p:cNvPr id="19" name="object 19"/>
          <p:cNvSpPr txBox="1">
            <a:spLocks noGrp="1"/>
          </p:cNvSpPr>
          <p:nvPr>
            <p:ph type="title"/>
          </p:nvPr>
        </p:nvSpPr>
        <p:spPr>
          <a:xfrm>
            <a:off x="1509521" y="51906"/>
            <a:ext cx="2715578" cy="627736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z="2000" spc="-10" dirty="0">
                <a:solidFill>
                  <a:srgbClr val="000000"/>
                </a:solidFill>
              </a:rPr>
              <a:t>Работа</a:t>
            </a:r>
            <a:r>
              <a:rPr sz="2000" spc="-15" dirty="0">
                <a:solidFill>
                  <a:srgbClr val="000000"/>
                </a:solidFill>
              </a:rPr>
              <a:t> </a:t>
            </a:r>
            <a:r>
              <a:rPr sz="2000" spc="-5" dirty="0">
                <a:solidFill>
                  <a:srgbClr val="000000"/>
                </a:solidFill>
              </a:rPr>
              <a:t>с </a:t>
            </a:r>
            <a:r>
              <a:rPr sz="2000" spc="-10" dirty="0">
                <a:solidFill>
                  <a:srgbClr val="000000"/>
                </a:solidFill>
              </a:rPr>
              <a:t>ситуацией</a:t>
            </a:r>
            <a:r>
              <a:rPr sz="2000" spc="35" dirty="0">
                <a:solidFill>
                  <a:srgbClr val="000000"/>
                </a:solidFill>
              </a:rPr>
              <a:t> </a:t>
            </a:r>
            <a:r>
              <a:rPr sz="2000" spc="-15" dirty="0">
                <a:solidFill>
                  <a:srgbClr val="000000"/>
                </a:solidFill>
              </a:rPr>
              <a:t>(контекстом)</a:t>
            </a:r>
            <a:endParaRPr sz="2000"/>
          </a:p>
        </p:txBody>
      </p:sp>
      <p:grpSp>
        <p:nvGrpSpPr>
          <p:cNvPr id="20" name="object 20"/>
          <p:cNvGrpSpPr/>
          <p:nvPr/>
        </p:nvGrpSpPr>
        <p:grpSpPr>
          <a:xfrm>
            <a:off x="294893" y="2197607"/>
            <a:ext cx="2021205" cy="3663950"/>
            <a:chOff x="393191" y="2197607"/>
            <a:chExt cx="2694940" cy="3663950"/>
          </a:xfrm>
        </p:grpSpPr>
        <p:pic>
          <p:nvPicPr>
            <p:cNvPr id="21" name="object 21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518159" y="5404103"/>
              <a:ext cx="2569464" cy="457200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393191" y="2197607"/>
              <a:ext cx="2599309" cy="3248406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591311" y="2395727"/>
              <a:ext cx="2026920" cy="2676144"/>
            </a:xfrm>
            <a:prstGeom prst="rect">
              <a:avLst/>
            </a:prstGeom>
          </p:spPr>
        </p:pic>
      </p:grpSp>
      <p:grpSp>
        <p:nvGrpSpPr>
          <p:cNvPr id="24" name="object 24"/>
          <p:cNvGrpSpPr/>
          <p:nvPr/>
        </p:nvGrpSpPr>
        <p:grpSpPr>
          <a:xfrm>
            <a:off x="2640330" y="1133855"/>
            <a:ext cx="4057174" cy="4053840"/>
            <a:chOff x="3520440" y="1133855"/>
            <a:chExt cx="5409565" cy="4053840"/>
          </a:xfrm>
        </p:grpSpPr>
        <p:pic>
          <p:nvPicPr>
            <p:cNvPr id="25" name="object 25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3520440" y="4785359"/>
              <a:ext cx="2724912" cy="402336"/>
            </a:xfrm>
            <a:prstGeom prst="rect">
              <a:avLst/>
            </a:prstGeom>
          </p:spPr>
        </p:pic>
        <p:pic>
          <p:nvPicPr>
            <p:cNvPr id="26" name="object 2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3532632" y="1703831"/>
              <a:ext cx="2599309" cy="3248406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3730752" y="1901951"/>
              <a:ext cx="2026920" cy="2676144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6406896" y="4227576"/>
              <a:ext cx="2401824" cy="429768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6278880" y="1133855"/>
              <a:ext cx="2650998" cy="3315589"/>
            </a:xfrm>
            <a:prstGeom prst="rect">
              <a:avLst/>
            </a:prstGeom>
          </p:spPr>
        </p:pic>
        <p:pic>
          <p:nvPicPr>
            <p:cNvPr id="30" name="object 30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6477000" y="1331975"/>
              <a:ext cx="2078736" cy="2743200"/>
            </a:xfrm>
            <a:prstGeom prst="rect">
              <a:avLst/>
            </a:prstGeom>
          </p:spPr>
        </p:pic>
      </p:grpSp>
      <p:sp>
        <p:nvSpPr>
          <p:cNvPr id="31" name="object 31"/>
          <p:cNvSpPr txBox="1"/>
          <p:nvPr/>
        </p:nvSpPr>
        <p:spPr>
          <a:xfrm>
            <a:off x="2988754" y="6546595"/>
            <a:ext cx="2646045" cy="282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100"/>
              </a:lnSpc>
            </a:pPr>
            <a:r>
              <a:rPr sz="1050" b="1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19"/>
              </a:rPr>
              <a:t>Математическая</a:t>
            </a:r>
            <a:r>
              <a:rPr sz="1050" b="1" u="sng" spc="-3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19"/>
              </a:rPr>
              <a:t> </a:t>
            </a:r>
            <a:r>
              <a:rPr sz="1050" b="1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19"/>
              </a:rPr>
              <a:t>грамотность.</a:t>
            </a:r>
            <a:r>
              <a:rPr sz="1050" b="1" u="sng" spc="-3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19"/>
              </a:rPr>
              <a:t> </a:t>
            </a:r>
            <a:r>
              <a:rPr sz="1050" b="1" u="sng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19"/>
              </a:rPr>
              <a:t>Сборник</a:t>
            </a:r>
            <a:r>
              <a:rPr sz="1050" b="1" u="sng" spc="-3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19"/>
              </a:rPr>
              <a:t> </a:t>
            </a:r>
            <a:r>
              <a:rPr sz="1050" b="1" u="sng" spc="-5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19"/>
              </a:rPr>
              <a:t>эталонных</a:t>
            </a:r>
            <a:r>
              <a:rPr sz="1050" b="1" u="sng" spc="-2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19"/>
              </a:rPr>
              <a:t> </a:t>
            </a:r>
            <a:r>
              <a:rPr sz="1050" b="1" u="sng" spc="10" dirty="0">
                <a:solidFill>
                  <a:srgbClr val="0462C1"/>
                </a:solidFill>
                <a:uFill>
                  <a:solidFill>
                    <a:srgbClr val="0462C1"/>
                  </a:solidFill>
                </a:uFill>
                <a:cs typeface="Calibri"/>
                <a:hlinkClick r:id="rId19"/>
              </a:rPr>
              <a:t>заданий.</a:t>
            </a:r>
            <a:endParaRPr sz="1050">
              <a:solidFill>
                <a:prstClr val="black"/>
              </a:solidFill>
              <a:cs typeface="Calibri"/>
            </a:endParaRPr>
          </a:p>
        </p:txBody>
      </p:sp>
      <p:sp>
        <p:nvSpPr>
          <p:cNvPr id="32" name="object 32"/>
          <p:cNvSpPr txBox="1">
            <a:spLocks noGrp="1"/>
          </p:cNvSpPr>
          <p:nvPr>
            <p:ph type="ftr" sz="quarter" idx="5"/>
          </p:nvPr>
        </p:nvSpPr>
        <p:spPr>
          <a:xfrm>
            <a:off x="3028950" y="6468401"/>
            <a:ext cx="3086100" cy="1410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055"/>
              </a:lnSpc>
            </a:pPr>
            <a:r>
              <a:rPr spc="5" dirty="0"/>
              <a:t>©</a:t>
            </a:r>
            <a:r>
              <a:rPr spc="-15" dirty="0"/>
              <a:t> </a:t>
            </a:r>
            <a:r>
              <a:rPr spc="-10" dirty="0"/>
              <a:t>А</a:t>
            </a:r>
            <a:r>
              <a:rPr spc="5" dirty="0"/>
              <a:t>О</a:t>
            </a:r>
            <a:r>
              <a:rPr spc="-10" dirty="0"/>
              <a:t> </a:t>
            </a:r>
            <a:r>
              <a:rPr spc="10" dirty="0"/>
              <a:t>«</a:t>
            </a:r>
            <a:r>
              <a:rPr spc="5" dirty="0"/>
              <a:t>Из</a:t>
            </a:r>
            <a:r>
              <a:rPr spc="-15" dirty="0"/>
              <a:t>д</a:t>
            </a:r>
            <a:r>
              <a:rPr dirty="0"/>
              <a:t>а</a:t>
            </a:r>
            <a:r>
              <a:rPr spc="-10" dirty="0"/>
              <a:t>т</a:t>
            </a:r>
            <a:r>
              <a:rPr dirty="0"/>
              <a:t>е</a:t>
            </a:r>
            <a:r>
              <a:rPr spc="-10" dirty="0"/>
              <a:t>л</a:t>
            </a:r>
            <a:r>
              <a:rPr spc="5" dirty="0"/>
              <a:t>ьс</a:t>
            </a:r>
            <a:r>
              <a:rPr spc="-10" dirty="0"/>
              <a:t>т</a:t>
            </a:r>
            <a:r>
              <a:rPr dirty="0"/>
              <a:t>во</a:t>
            </a:r>
            <a:r>
              <a:rPr spc="-45" dirty="0"/>
              <a:t> </a:t>
            </a:r>
            <a:r>
              <a:rPr spc="10" dirty="0"/>
              <a:t>«</a:t>
            </a:r>
            <a:r>
              <a:rPr spc="5" dirty="0"/>
              <a:t>П</a:t>
            </a:r>
            <a:r>
              <a:rPr spc="-5" dirty="0"/>
              <a:t>ро</a:t>
            </a:r>
            <a:r>
              <a:rPr spc="5" dirty="0"/>
              <a:t>с</a:t>
            </a:r>
            <a:r>
              <a:rPr dirty="0"/>
              <a:t>ве</a:t>
            </a:r>
            <a:r>
              <a:rPr spc="-10" dirty="0"/>
              <a:t>щ</a:t>
            </a:r>
            <a:r>
              <a:rPr dirty="0"/>
              <a:t>е</a:t>
            </a:r>
            <a:r>
              <a:rPr spc="-10" dirty="0"/>
              <a:t>н</a:t>
            </a:r>
            <a:r>
              <a:rPr spc="5" dirty="0"/>
              <a:t>и</a:t>
            </a:r>
            <a:r>
              <a:rPr dirty="0"/>
              <a:t>е</a:t>
            </a:r>
            <a:r>
              <a:rPr spc="10" dirty="0"/>
              <a:t>»</a:t>
            </a:r>
            <a:r>
              <a:rPr dirty="0"/>
              <a:t>,</a:t>
            </a:r>
            <a:r>
              <a:rPr spc="-70" dirty="0"/>
              <a:t> </a:t>
            </a:r>
            <a:r>
              <a:rPr spc="-10" dirty="0"/>
              <a:t>202</a:t>
            </a:r>
            <a:r>
              <a:rPr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548214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544" y="332656"/>
            <a:ext cx="8047806" cy="903631"/>
          </a:xfrm>
        </p:spPr>
        <p:txBody>
          <a:bodyPr>
            <a:normAutofit fontScale="90000"/>
          </a:bodyPr>
          <a:lstStyle/>
          <a:p>
            <a:pPr algn="ctr"/>
            <a:r>
              <a:rPr lang="ru-RU" dirty="0" smtClean="0"/>
              <a:t> </a:t>
            </a:r>
            <a:br>
              <a:rPr lang="ru-RU" dirty="0" smtClean="0"/>
            </a:br>
            <a:r>
              <a:rPr lang="ru-RU" dirty="0" smtClean="0">
                <a:solidFill>
                  <a:srgbClr val="C00000"/>
                </a:solidFill>
              </a:rPr>
              <a:t>СООБЩЕСТВО УЧИТЕЛЕЙ МАТЕМАТИКИ</a:t>
            </a:r>
            <a:br>
              <a:rPr lang="ru-RU" dirty="0" smtClean="0">
                <a:solidFill>
                  <a:srgbClr val="C00000"/>
                </a:solidFill>
              </a:rPr>
            </a:br>
            <a:r>
              <a:rPr lang="ru-RU" dirty="0" smtClean="0">
                <a:solidFill>
                  <a:srgbClr val="C00000"/>
                </a:solidFill>
              </a:rPr>
              <a:t>                                        </a:t>
            </a:r>
            <a:r>
              <a:rPr lang="en-US" sz="2200" dirty="0" smtClean="0">
                <a:solidFill>
                  <a:srgbClr val="C00000"/>
                </a:solidFill>
                <a:hlinkClick r:id="rId2"/>
              </a:rPr>
              <a:t>http</a:t>
            </a:r>
            <a:r>
              <a:rPr lang="en-US" sz="2200" dirty="0">
                <a:solidFill>
                  <a:srgbClr val="C00000"/>
                </a:solidFill>
                <a:hlinkClick r:id="rId2"/>
              </a:rPr>
              <a:t>://</a:t>
            </a:r>
            <a:r>
              <a:rPr lang="en-US" sz="2200" dirty="0" smtClean="0">
                <a:solidFill>
                  <a:srgbClr val="C00000"/>
                </a:solidFill>
                <a:hlinkClick r:id="rId2"/>
              </a:rPr>
              <a:t>wiki.vladimir.i-edu.ru</a:t>
            </a:r>
            <a:r>
              <a:rPr lang="ru-RU" sz="2200" dirty="0" smtClean="0">
                <a:solidFill>
                  <a:srgbClr val="C00000"/>
                </a:solidFill>
              </a:rPr>
              <a:t/>
            </a:r>
            <a:br>
              <a:rPr lang="ru-RU" sz="2200" dirty="0" smtClean="0">
                <a:solidFill>
                  <a:srgbClr val="C00000"/>
                </a:solidFill>
              </a:rPr>
            </a:br>
            <a:r>
              <a:rPr lang="ru-RU" sz="2200" dirty="0" smtClean="0"/>
              <a:t/>
            </a:r>
            <a:br>
              <a:rPr lang="ru-RU" sz="2200" dirty="0" smtClean="0"/>
            </a:br>
            <a:r>
              <a:rPr lang="ru-RU" sz="2200" dirty="0" smtClean="0"/>
              <a:t>  </a:t>
            </a:r>
            <a:endParaRPr lang="ru-RU" sz="2200" dirty="0"/>
          </a:p>
        </p:txBody>
      </p:sp>
      <p:pic>
        <p:nvPicPr>
          <p:cNvPr id="3" name="Рисунок 2"/>
          <p:cNvPicPr/>
          <p:nvPr/>
        </p:nvPicPr>
        <p:blipFill>
          <a:blip r:embed="rId3"/>
          <a:stretch>
            <a:fillRect/>
          </a:stretch>
        </p:blipFill>
        <p:spPr>
          <a:xfrm>
            <a:off x="251520" y="1340768"/>
            <a:ext cx="8640959" cy="5256584"/>
          </a:xfrm>
          <a:prstGeom prst="rect">
            <a:avLst/>
          </a:prstGeom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4408" y="188640"/>
            <a:ext cx="720080" cy="8640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7485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" name="Рисунок 2"/>
          <p:cNvPicPr/>
          <p:nvPr/>
        </p:nvPicPr>
        <p:blipFill>
          <a:blip r:embed="rId2"/>
          <a:stretch>
            <a:fillRect/>
          </a:stretch>
        </p:blipFill>
        <p:spPr>
          <a:xfrm>
            <a:off x="251520" y="188640"/>
            <a:ext cx="8712967" cy="60486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1922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00188" y="-171400"/>
            <a:ext cx="7491412" cy="1296938"/>
          </a:xfrm>
        </p:spPr>
        <p:txBody>
          <a:bodyPr/>
          <a:lstStyle/>
          <a:p>
            <a:pPr algn="ctr">
              <a:defRPr/>
            </a:pPr>
            <a:r>
              <a:rPr lang="ru-RU" sz="2400" b="1" kern="1200" dirty="0" smtClean="0">
                <a:solidFill>
                  <a:srgbClr val="9C525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Планируемые мероприятия ВИРО </a:t>
            </a:r>
            <a:br>
              <a:rPr lang="ru-RU" sz="2400" b="1" kern="1200" dirty="0" smtClean="0">
                <a:solidFill>
                  <a:srgbClr val="9C5252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</a:br>
            <a:endParaRPr lang="ru-RU" sz="2400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31640" y="1124744"/>
            <a:ext cx="7659960" cy="5616624"/>
          </a:xfrm>
        </p:spPr>
        <p:txBody>
          <a:bodyPr/>
          <a:lstStyle/>
          <a:p>
            <a:pPr algn="just">
              <a:defRPr/>
            </a:pPr>
            <a:r>
              <a:rPr lang="ru-RU" sz="1800" dirty="0">
                <a:solidFill>
                  <a:srgbClr val="333300"/>
                </a:solidFill>
                <a:cs typeface="Times New Roman" pitchFamily="18" charset="0"/>
              </a:rPr>
              <a:t>О</a:t>
            </a:r>
            <a:r>
              <a:rPr lang="ru-RU" sz="1800" dirty="0" smtClean="0">
                <a:solidFill>
                  <a:srgbClr val="333300"/>
                </a:solidFill>
                <a:cs typeface="Times New Roman" pitchFamily="18" charset="0"/>
              </a:rPr>
              <a:t>рганизация </a:t>
            </a:r>
            <a:r>
              <a:rPr lang="ru-RU" sz="1800" i="1" dirty="0">
                <a:solidFill>
                  <a:schemeClr val="accent2">
                    <a:lumMod val="75000"/>
                  </a:schemeClr>
                </a:solidFill>
                <a:cs typeface="Times New Roman" pitchFamily="18" charset="0"/>
              </a:rPr>
              <a:t>мониторинга</a:t>
            </a:r>
            <a:r>
              <a:rPr lang="ru-RU" sz="1800" dirty="0">
                <a:solidFill>
                  <a:schemeClr val="accent2">
                    <a:lumMod val="75000"/>
                  </a:schemeClr>
                </a:solidFill>
                <a:cs typeface="Times New Roman" pitchFamily="18" charset="0"/>
              </a:rPr>
              <a:t> </a:t>
            </a:r>
            <a:r>
              <a:rPr lang="ru-RU" sz="1800" dirty="0">
                <a:solidFill>
                  <a:srgbClr val="333300"/>
                </a:solidFill>
                <a:cs typeface="Times New Roman" pitchFamily="18" charset="0"/>
              </a:rPr>
              <a:t>качества образовательной подготовки обучающихся по математике в 9 и 11 </a:t>
            </a:r>
            <a:r>
              <a:rPr lang="ru-RU" sz="1800" dirty="0" smtClean="0">
                <a:solidFill>
                  <a:srgbClr val="333300"/>
                </a:solidFill>
                <a:cs typeface="Times New Roman" pitchFamily="18" charset="0"/>
              </a:rPr>
              <a:t>классах </a:t>
            </a:r>
            <a:r>
              <a:rPr lang="ru-RU" sz="1800" i="1" dirty="0" smtClean="0">
                <a:solidFill>
                  <a:srgbClr val="333300"/>
                </a:solidFill>
                <a:cs typeface="Times New Roman" pitchFamily="18" charset="0"/>
              </a:rPr>
              <a:t>(февраль-март 2022 г.);</a:t>
            </a:r>
          </a:p>
          <a:p>
            <a:pPr lvl="0" algn="just">
              <a:buClr>
                <a:srgbClr val="999933"/>
              </a:buClr>
              <a:defRPr/>
            </a:pPr>
            <a:r>
              <a:rPr lang="ru-RU" sz="1800" dirty="0">
                <a:solidFill>
                  <a:srgbClr val="333300"/>
                </a:solidFill>
              </a:rPr>
              <a:t>Организация и проведение по заявкам территорий </a:t>
            </a:r>
            <a:r>
              <a:rPr lang="ru-RU" sz="1800" i="1" dirty="0">
                <a:solidFill>
                  <a:schemeClr val="accent2">
                    <a:lumMod val="75000"/>
                  </a:schemeClr>
                </a:solidFill>
              </a:rPr>
              <a:t>репетиционного тестирования</a:t>
            </a:r>
            <a:r>
              <a:rPr lang="ru-RU" sz="1800" dirty="0">
                <a:solidFill>
                  <a:srgbClr val="333300"/>
                </a:solidFill>
              </a:rPr>
              <a:t> по математике для учащихся 9 и 11 классов, в формате ОГЭ и ЕГЭ (подготовка контрольно-измерительный материалов, проведение консультаций с учащимися, проверка и анализ работ);</a:t>
            </a:r>
          </a:p>
          <a:p>
            <a:pPr lvl="0" algn="just">
              <a:buClr>
                <a:srgbClr val="999933"/>
              </a:buClr>
              <a:defRPr/>
            </a:pPr>
            <a:r>
              <a:rPr lang="ru-RU" sz="1800" dirty="0">
                <a:solidFill>
                  <a:srgbClr val="333300"/>
                </a:solidFill>
              </a:rPr>
              <a:t>Обобщение и распространения </a:t>
            </a:r>
            <a:r>
              <a:rPr lang="ru-RU" sz="1800" i="1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опыта учителей </a:t>
            </a:r>
            <a:r>
              <a:rPr lang="ru-RU" sz="1800" dirty="0" smtClean="0">
                <a:solidFill>
                  <a:srgbClr val="333300"/>
                </a:solidFill>
              </a:rPr>
              <a:t>математики;</a:t>
            </a:r>
            <a:endParaRPr lang="ru-RU" sz="1800" dirty="0">
              <a:solidFill>
                <a:srgbClr val="333300"/>
              </a:solidFill>
            </a:endParaRPr>
          </a:p>
          <a:p>
            <a:pPr algn="just">
              <a:defRPr/>
            </a:pPr>
            <a:r>
              <a:rPr lang="ru-RU" sz="1800" i="1" dirty="0" smtClean="0">
                <a:solidFill>
                  <a:schemeClr val="accent4">
                    <a:lumMod val="75000"/>
                    <a:lumOff val="25000"/>
                  </a:schemeClr>
                </a:solidFill>
                <a:ea typeface="Times New Roman"/>
              </a:rPr>
              <a:t>К</a:t>
            </a:r>
            <a:r>
              <a:rPr lang="ru-RU" sz="1800" i="1" dirty="0" smtClean="0">
                <a:solidFill>
                  <a:schemeClr val="accent4">
                    <a:lumMod val="75000"/>
                    <a:lumOff val="25000"/>
                  </a:schemeClr>
                </a:solidFill>
                <a:effectLst/>
                <a:ea typeface="Times New Roman"/>
              </a:rPr>
              <a:t>раткосрочные курсы </a:t>
            </a:r>
            <a:r>
              <a:rPr lang="ru-RU" sz="1800" dirty="0" smtClean="0">
                <a:effectLst/>
                <a:ea typeface="Times New Roman"/>
              </a:rPr>
              <a:t>(24-36 часов) по темам «Избранные вопросы в курсе математики основной и старшей школы», «Методика подготовки учащихся к итоговой аттестации по математике» (</a:t>
            </a:r>
            <a:r>
              <a:rPr lang="ru-RU" sz="1800" i="1" dirty="0" smtClean="0">
                <a:effectLst/>
                <a:ea typeface="Times New Roman"/>
              </a:rPr>
              <a:t>очно, дистанционно</a:t>
            </a:r>
            <a:r>
              <a:rPr lang="ru-RU" sz="1800" dirty="0" smtClean="0">
                <a:effectLst/>
                <a:ea typeface="Times New Roman"/>
              </a:rPr>
              <a:t>)</a:t>
            </a:r>
          </a:p>
          <a:p>
            <a:pPr>
              <a:defRPr/>
            </a:pPr>
            <a:r>
              <a:rPr lang="ru-RU" sz="1800" i="1" dirty="0" smtClean="0">
                <a:solidFill>
                  <a:schemeClr val="accent4">
                    <a:lumMod val="75000"/>
                    <a:lumOff val="25000"/>
                  </a:schemeClr>
                </a:solidFill>
                <a:ea typeface="Times New Roman"/>
                <a:cs typeface="Arial" pitchFamily="34" charset="0"/>
              </a:rPr>
              <a:t>Конкурс для  педагогов</a:t>
            </a:r>
            <a:r>
              <a:rPr lang="ru-RU" sz="1800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Arial Black" pitchFamily="34" charset="0"/>
                <a:ea typeface="Times New Roman"/>
                <a:cs typeface="Arial" pitchFamily="34" charset="0"/>
              </a:rPr>
              <a:t> </a:t>
            </a:r>
            <a:r>
              <a:rPr lang="ru-RU" sz="1800" dirty="0" smtClean="0">
                <a:solidFill>
                  <a:schemeClr val="accent5">
                    <a:lumMod val="25000"/>
                  </a:schemeClr>
                </a:solidFill>
                <a:ea typeface="Times New Roman"/>
                <a:cs typeface="Arial" pitchFamily="34" charset="0"/>
              </a:rPr>
              <a:t>«Решение задач повышенной сложности» </a:t>
            </a:r>
            <a:r>
              <a:rPr lang="ru-RU" sz="1800" i="1" dirty="0" smtClean="0">
                <a:solidFill>
                  <a:schemeClr val="accent5">
                    <a:lumMod val="25000"/>
                  </a:schemeClr>
                </a:solidFill>
                <a:ea typeface="Times New Roman"/>
                <a:cs typeface="Arial" pitchFamily="34" charset="0"/>
              </a:rPr>
              <a:t>(1 ноября 2021 г.), заочный</a:t>
            </a:r>
          </a:p>
          <a:p>
            <a:pPr algn="just">
              <a:buNone/>
              <a:defRPr/>
            </a:pPr>
            <a:r>
              <a:rPr lang="ru-RU" sz="1800" i="1" dirty="0" smtClean="0">
                <a:latin typeface="Arial" pitchFamily="34" charset="0"/>
                <a:ea typeface="Times New Roman"/>
                <a:cs typeface="Arial" pitchFamily="34" charset="0"/>
              </a:rPr>
              <a:t/>
            </a:r>
            <a:br>
              <a:rPr lang="ru-RU" sz="1800" i="1" dirty="0" smtClean="0">
                <a:latin typeface="Arial" pitchFamily="34" charset="0"/>
                <a:ea typeface="Times New Roman"/>
                <a:cs typeface="Arial" pitchFamily="34" charset="0"/>
              </a:rPr>
            </a:br>
            <a:endParaRPr lang="ru-RU" sz="1800" dirty="0">
              <a:solidFill>
                <a:srgbClr val="333300"/>
              </a:solidFill>
              <a:latin typeface="Times New Roman"/>
            </a:endParaRPr>
          </a:p>
          <a:p>
            <a:pPr algn="just">
              <a:defRPr/>
            </a:pPr>
            <a:endParaRPr lang="ru-RU" sz="1600" dirty="0" smtClean="0">
              <a:effectLst/>
              <a:latin typeface="Times New Roman"/>
              <a:ea typeface="Times New Roman"/>
            </a:endParaRPr>
          </a:p>
          <a:p>
            <a:pPr>
              <a:defRPr/>
            </a:pPr>
            <a:endParaRPr lang="ru-RU" sz="2000" dirty="0">
              <a:latin typeface="+mj-lt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0"/>
            <a:ext cx="1259632" cy="11247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83197147"/>
      </p:ext>
    </p:extLst>
  </p:cSld>
  <p:clrMapOvr>
    <a:masterClrMapping/>
  </p:clrMapOvr>
  <p:transition spd="med">
    <p:strips dir="r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60648"/>
            <a:ext cx="8229600" cy="133955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2800" b="1" dirty="0" smtClean="0"/>
              <a:t>ИНФОРМАЦИОННАЯ ГОТОВНОСТЬ </a:t>
            </a:r>
            <a:r>
              <a:rPr lang="ru-RU" sz="2800" dirty="0" smtClean="0"/>
              <a:t>(педагогов, учащихся и родителей)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700808"/>
            <a:ext cx="8856984" cy="5040560"/>
          </a:xfrm>
        </p:spPr>
        <p:txBody>
          <a:bodyPr>
            <a:normAutofit/>
          </a:bodyPr>
          <a:lstStyle/>
          <a:p>
            <a:r>
              <a:rPr lang="ru-RU" sz="2000" b="1" dirty="0">
                <a:solidFill>
                  <a:schemeClr val="accent2">
                    <a:lumMod val="75000"/>
                  </a:schemeClr>
                </a:solidFill>
              </a:rPr>
              <a:t>изучение нормативно-правовой документации по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ГИА, </a:t>
            </a:r>
            <a:r>
              <a:rPr lang="ru-RU" sz="2000" b="1" dirty="0" err="1" smtClean="0">
                <a:solidFill>
                  <a:schemeClr val="accent5">
                    <a:lumMod val="75000"/>
                  </a:schemeClr>
                </a:solidFill>
                <a:ea typeface="Tahoma" panose="020B0604030504040204" pitchFamily="34" charset="0"/>
              </a:rPr>
              <a:t>вебинарами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  <a:ea typeface="Tahoma" panose="020B0604030504040204" pitchFamily="34" charset="0"/>
              </a:rPr>
              <a:t> 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ea typeface="Tahoma" panose="020B0604030504040204" pitchFamily="34" charset="0"/>
              </a:rPr>
              <a:t>ФИПИ и </a:t>
            </a:r>
            <a:r>
              <a:rPr lang="ru-RU" sz="2000" b="1" dirty="0" err="1">
                <a:solidFill>
                  <a:schemeClr val="accent5">
                    <a:lumMod val="75000"/>
                  </a:schemeClr>
                </a:solidFill>
                <a:ea typeface="Tahoma" panose="020B0604030504040204" pitchFamily="34" charset="0"/>
              </a:rPr>
              <a:t>видеоконсультациями</a:t>
            </a:r>
            <a:r>
              <a:rPr lang="ru-RU" sz="2000" b="1" dirty="0">
                <a:solidFill>
                  <a:schemeClr val="accent5">
                    <a:lumMod val="75000"/>
                  </a:schemeClr>
                </a:solidFill>
                <a:ea typeface="Tahoma" panose="020B0604030504040204" pitchFamily="34" charset="0"/>
              </a:rPr>
              <a:t> </a:t>
            </a:r>
            <a:r>
              <a:rPr lang="ru-RU" sz="2000" b="1" dirty="0" err="1">
                <a:solidFill>
                  <a:schemeClr val="accent5">
                    <a:lumMod val="75000"/>
                  </a:schemeClr>
                </a:solidFill>
                <a:ea typeface="Tahoma" panose="020B0604030504040204" pitchFamily="34" charset="0"/>
              </a:rPr>
              <a:t>Рособрнадзора</a:t>
            </a:r>
            <a:r>
              <a:rPr lang="ru-RU" sz="2000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совещания, родительские 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собрания, инструктажи, официальный сайт 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школы, информационные 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стенды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);</a:t>
            </a:r>
          </a:p>
          <a:p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рекомендации </a:t>
            </a:r>
            <a:r>
              <a:rPr lang="ru-RU" sz="2000" b="1" dirty="0">
                <a:solidFill>
                  <a:schemeClr val="accent2">
                    <a:lumMod val="75000"/>
                  </a:schemeClr>
                </a:solidFill>
              </a:rPr>
              <a:t>учителям-предметникам и родителям 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индивидуальные консультации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) по стратегии подготовки учащихся к ГИА (с 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учетом психологических 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особенностей учащихся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);</a:t>
            </a:r>
          </a:p>
          <a:p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презентация </a:t>
            </a:r>
            <a:r>
              <a:rPr lang="ru-RU" sz="2000" b="1" dirty="0">
                <a:solidFill>
                  <a:schemeClr val="accent2">
                    <a:lumMod val="75000"/>
                  </a:schemeClr>
                </a:solidFill>
              </a:rPr>
              <a:t>опыта по подготовке учащихся к ГИА 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(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единые методические </a:t>
            </a:r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дни, предметные недели</a:t>
            </a:r>
            <a:r>
              <a:rPr lang="ru-RU" sz="2000" dirty="0" smtClean="0">
                <a:solidFill>
                  <a:schemeClr val="accent2">
                    <a:lumMod val="75000"/>
                  </a:schemeClr>
                </a:solidFill>
              </a:rPr>
              <a:t>); </a:t>
            </a:r>
          </a:p>
          <a:p>
            <a:pPr lvl="0"/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информированность </a:t>
            </a:r>
            <a:r>
              <a:rPr lang="ru-RU" sz="2000" b="1" dirty="0">
                <a:solidFill>
                  <a:schemeClr val="accent2">
                    <a:lumMod val="75000"/>
                  </a:schemeClr>
                </a:solidFill>
              </a:rPr>
              <a:t>о правилах поведения на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экзамене;</a:t>
            </a:r>
            <a:endParaRPr lang="ru-RU" sz="2000" b="1" dirty="0">
              <a:solidFill>
                <a:schemeClr val="accent2">
                  <a:lumMod val="75000"/>
                </a:schemeClr>
              </a:solidFill>
            </a:endParaRPr>
          </a:p>
          <a:p>
            <a:pPr lvl="0"/>
            <a:r>
              <a:rPr lang="ru-RU" sz="2000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sz="2000" b="1" dirty="0">
                <a:solidFill>
                  <a:schemeClr val="accent2">
                    <a:lumMod val="75000"/>
                  </a:schemeClr>
                </a:solidFill>
              </a:rPr>
              <a:t>информированность о правилах заполнения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бланков</a:t>
            </a:r>
          </a:p>
          <a:p>
            <a:pPr marL="0" lvl="0" indent="0">
              <a:buNone/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</a:p>
          <a:p>
            <a:pPr marL="0" indent="0">
              <a:buNone/>
            </a:pPr>
            <a:endParaRPr lang="ru-RU" dirty="0" smtClean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4" name="Рисунок 3" descr="https://sh2-krkam.edusite.ru/images/f005f092-8678-4f3d-943c-6b45e290a184.pn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5661248"/>
            <a:ext cx="5220072" cy="118072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2645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87624" y="260648"/>
            <a:ext cx="7704856" cy="1296144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Arial Black" pitchFamily="34" charset="0"/>
                <a:ea typeface="Times New Roman"/>
                <a:cs typeface="Arial" pitchFamily="34" charset="0"/>
              </a:rPr>
              <a:t/>
            </a:r>
            <a:br>
              <a:rPr lang="ru-RU" sz="2400" b="1" dirty="0" smtClean="0">
                <a:solidFill>
                  <a:schemeClr val="accent4">
                    <a:lumMod val="90000"/>
                    <a:lumOff val="10000"/>
                  </a:schemeClr>
                </a:solidFill>
                <a:latin typeface="Arial Black" pitchFamily="34" charset="0"/>
                <a:ea typeface="Times New Roman"/>
                <a:cs typeface="Arial" pitchFamily="34" charset="0"/>
              </a:rPr>
            </a:br>
            <a:r>
              <a:rPr lang="ru-RU" sz="2400" b="1" dirty="0" smtClean="0">
                <a:solidFill>
                  <a:srgbClr val="C00000"/>
                </a:solidFill>
                <a:latin typeface="Arial Black" pitchFamily="34" charset="0"/>
                <a:ea typeface="Times New Roman"/>
                <a:cs typeface="Arial" pitchFamily="34" charset="0"/>
              </a:rPr>
              <a:t>Конкурс для  педагогов</a:t>
            </a:r>
            <a:br>
              <a:rPr lang="ru-RU" sz="2400" b="1" dirty="0" smtClean="0">
                <a:solidFill>
                  <a:srgbClr val="C00000"/>
                </a:solidFill>
                <a:latin typeface="Arial Black" pitchFamily="34" charset="0"/>
                <a:ea typeface="Times New Roman"/>
                <a:cs typeface="Arial" pitchFamily="34" charset="0"/>
              </a:rPr>
            </a:br>
            <a:r>
              <a:rPr lang="ru-RU" sz="2400" b="1" dirty="0" smtClean="0">
                <a:solidFill>
                  <a:srgbClr val="C00000"/>
                </a:solidFill>
                <a:latin typeface="Arial Black" pitchFamily="34" charset="0"/>
                <a:ea typeface="Times New Roman"/>
                <a:cs typeface="Arial" pitchFamily="34" charset="0"/>
              </a:rPr>
              <a:t> «Решение задач повышенной сложности» </a:t>
            </a:r>
            <a:r>
              <a:rPr lang="ru-RU" sz="2400" b="1" i="1" dirty="0" smtClean="0">
                <a:solidFill>
                  <a:srgbClr val="C00000"/>
                </a:solidFill>
                <a:latin typeface="Arial" pitchFamily="34" charset="0"/>
                <a:ea typeface="Times New Roman"/>
                <a:cs typeface="Arial" pitchFamily="34" charset="0"/>
              </a:rPr>
              <a:t>(1 ноября 2021 г.)</a:t>
            </a:r>
            <a:r>
              <a:rPr lang="ru-RU" i="1" dirty="0" smtClean="0">
                <a:solidFill>
                  <a:srgbClr val="C00000"/>
                </a:solidFill>
                <a:latin typeface="Arial" pitchFamily="34" charset="0"/>
                <a:ea typeface="Times New Roman"/>
                <a:cs typeface="Arial" pitchFamily="34" charset="0"/>
              </a:rPr>
              <a:t/>
            </a:r>
            <a:br>
              <a:rPr lang="ru-RU" i="1" dirty="0" smtClean="0">
                <a:solidFill>
                  <a:srgbClr val="C00000"/>
                </a:solidFill>
                <a:latin typeface="Arial" pitchFamily="34" charset="0"/>
                <a:ea typeface="Times New Roman"/>
                <a:cs typeface="Arial" pitchFamily="34" charset="0"/>
              </a:rPr>
            </a:br>
            <a:endParaRPr lang="ru-RU" i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</a:rPr>
              <a:t>Ссылка </a:t>
            </a:r>
            <a:r>
              <a:rPr lang="ru-RU" sz="1400" dirty="0">
                <a:solidFill>
                  <a:schemeClr val="bg2">
                    <a:lumMod val="75000"/>
                  </a:schemeClr>
                </a:solidFill>
              </a:rPr>
              <a:t>на страницу </a:t>
            </a:r>
            <a:r>
              <a:rPr lang="ru-RU" sz="1400" dirty="0">
                <a:hlinkClick r:id="rId2"/>
              </a:rPr>
              <a:t>http://</a:t>
            </a:r>
            <a:r>
              <a:rPr lang="ru-RU" sz="1400" dirty="0" smtClean="0">
                <a:hlinkClick r:id="rId2"/>
              </a:rPr>
              <a:t>wiki.vladimir.i-edu.ru/index.php?title=Конкурс_Решение_задач_повышенной_сложности</a:t>
            </a:r>
            <a:endParaRPr lang="ru-RU" sz="1400" u="sng" dirty="0" smtClean="0">
              <a:solidFill>
                <a:srgbClr val="0000FF"/>
              </a:solidFill>
              <a:ea typeface="Times New Roman"/>
              <a:cs typeface="Arial" pitchFamily="34" charset="0"/>
            </a:endParaRPr>
          </a:p>
          <a:p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</a:rPr>
              <a:t>Участников 148 человек, математика – 52 (из них 1 учитель  МБОУ «</a:t>
            </a:r>
            <a:r>
              <a:rPr lang="ru-RU" sz="1400" dirty="0" err="1" smtClean="0">
                <a:solidFill>
                  <a:schemeClr val="bg2">
                    <a:lumMod val="75000"/>
                  </a:schemeClr>
                </a:solidFill>
              </a:rPr>
              <a:t>Нововязниковская</a:t>
            </a:r>
            <a:r>
              <a:rPr lang="ru-RU" sz="1400" dirty="0" smtClean="0">
                <a:solidFill>
                  <a:schemeClr val="bg2">
                    <a:lumMod val="75000"/>
                  </a:schemeClr>
                </a:solidFill>
              </a:rPr>
              <a:t> ООШ»)</a:t>
            </a:r>
            <a:endParaRPr lang="ru-RU" sz="1400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4" name="Рисунок 3"/>
          <p:cNvPicPr/>
          <p:nvPr/>
        </p:nvPicPr>
        <p:blipFill>
          <a:blip r:embed="rId3"/>
          <a:stretch>
            <a:fillRect/>
          </a:stretch>
        </p:blipFill>
        <p:spPr>
          <a:xfrm>
            <a:off x="1547664" y="2564904"/>
            <a:ext cx="7596336" cy="4293096"/>
          </a:xfrm>
          <a:prstGeom prst="rect">
            <a:avLst/>
          </a:prstGeom>
        </p:spPr>
      </p:pic>
    </p:spTree>
  </p:cSld>
  <p:clrMapOvr>
    <a:masterClrMapping/>
  </p:clrMapOvr>
  <p:transition spd="med">
    <p:strips dir="ru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Заголовок 1"/>
          <p:cNvSpPr>
            <a:spLocks noGrp="1"/>
          </p:cNvSpPr>
          <p:nvPr>
            <p:ph type="title"/>
          </p:nvPr>
        </p:nvSpPr>
        <p:spPr>
          <a:xfrm>
            <a:off x="539552" y="228600"/>
            <a:ext cx="7992888" cy="1905000"/>
          </a:xfrm>
        </p:spPr>
        <p:txBody>
          <a:bodyPr/>
          <a:lstStyle/>
          <a:p>
            <a:pPr algn="ctr">
              <a:lnSpc>
                <a:spcPct val="100000"/>
              </a:lnSpc>
              <a:defRPr/>
            </a:pPr>
            <a:r>
              <a:rPr lang="ru-RU" sz="20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Кафедра естественно-математического образования ГАОУДПО ВО ВИРО</a:t>
            </a: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Наши контакты:</a:t>
            </a:r>
            <a:r>
              <a:rPr lang="ru-RU" sz="24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8(4922</a:t>
            </a:r>
            <a:r>
              <a:rPr lang="ru-RU" sz="2400" b="1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)-328385  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				</a:t>
            </a:r>
            <a:r>
              <a:rPr lang="ru-RU" sz="24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         </a:t>
            </a:r>
            <a:r>
              <a:rPr lang="en-US" sz="24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kafedraemo@yandex.ru</a:t>
            </a:r>
            <a:endParaRPr lang="ru-RU" sz="24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23528" y="2205038"/>
            <a:ext cx="8668072" cy="3672234"/>
          </a:xfrm>
        </p:spPr>
        <p:txBody>
          <a:bodyPr>
            <a:normAutofit/>
          </a:bodyPr>
          <a:lstStyle/>
          <a:p>
            <a:pPr marL="0" indent="0" algn="ctr">
              <a:buFont typeface="Wingdings" pitchFamily="2" charset="2"/>
              <a:buNone/>
              <a:defRPr/>
            </a:pPr>
            <a:r>
              <a:rPr lang="ru-RU" sz="4800" b="1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ПАСИБО  </a:t>
            </a:r>
          </a:p>
          <a:p>
            <a:pPr marL="0" indent="0" algn="ctr">
              <a:buFont typeface="Wingdings" pitchFamily="2" charset="2"/>
              <a:buNone/>
              <a:defRPr/>
            </a:pPr>
            <a:r>
              <a:rPr lang="ru-RU" sz="4800" b="1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ЗА ВНИМАНИЕ </a:t>
            </a:r>
            <a:endParaRPr lang="en-US" sz="4800" b="1" i="1" dirty="0" smtClean="0">
              <a:solidFill>
                <a:schemeClr val="accent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indent="0" algn="ctr">
              <a:buFont typeface="Wingdings" pitchFamily="2" charset="2"/>
              <a:buNone/>
              <a:defRPr/>
            </a:pPr>
            <a:r>
              <a:rPr lang="ru-RU" sz="4800" b="1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СОТРУДНИЧЕСТВО</a:t>
            </a:r>
            <a:r>
              <a:rPr lang="ru-RU" sz="4800" b="1" i="1" dirty="0" smtClean="0">
                <a:solidFill>
                  <a:schemeClr val="accent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!</a:t>
            </a:r>
          </a:p>
          <a:p>
            <a:pPr marL="0" indent="0" algn="ctr">
              <a:buFont typeface="Wingdings" pitchFamily="2" charset="2"/>
              <a:buNone/>
              <a:defRPr/>
            </a:pPr>
            <a:r>
              <a:rPr lang="ru-RU" sz="4800" b="1" i="1" dirty="0" smtClean="0">
                <a:solidFill>
                  <a:schemeClr val="accent1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БУДЬТЕ ЗДОРОВЫ!</a:t>
            </a:r>
            <a:endParaRPr lang="ru-RU" sz="4800" b="1" i="1" dirty="0" smtClean="0">
              <a:solidFill>
                <a:schemeClr val="accent1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288" y="5229200"/>
            <a:ext cx="1728192" cy="12961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17920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52736"/>
          </a:xfrm>
        </p:spPr>
        <p:txBody>
          <a:bodyPr/>
          <a:lstStyle/>
          <a:p>
            <a:r>
              <a:rPr lang="ru-RU" sz="4800" dirty="0"/>
              <a:t>психологическая готовность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052736"/>
            <a:ext cx="8229600" cy="5073427"/>
          </a:xfrm>
        </p:spPr>
        <p:txBody>
          <a:bodyPr>
            <a:normAutofit fontScale="92500" lnSpcReduction="20000"/>
          </a:bodyPr>
          <a:lstStyle/>
          <a:p>
            <a:pPr marL="0" indent="0" algn="just">
              <a:buNone/>
            </a:pP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состояние 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готовности</a:t>
            </a:r>
            <a:r>
              <a:rPr lang="ru-RU" dirty="0">
                <a:solidFill>
                  <a:schemeClr val="accent2">
                    <a:lumMod val="75000"/>
                  </a:schemeClr>
                </a:solidFill>
              </a:rPr>
              <a:t> – "настрой", внутренняя настроенность на определенное поведение, ориентированность на целесообразные действия, актуализация и приспособление возможностей личности для успешных действий в ситуации сдачи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экзамена</a:t>
            </a:r>
          </a:p>
          <a:p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систематическую работу с учениками направленную на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овладение ими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методов и приемов активного запоминания и концентрации внимания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;</a:t>
            </a: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проведение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занятий по профориентации, с целью помочь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ученикам определиться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с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выбором 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экзаменов;</a:t>
            </a:r>
            <a:endParaRPr lang="ru-RU" dirty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изучение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учениками приемов самоконтроля, методов снятия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нервно-психического 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напряжения и </a:t>
            </a:r>
            <a:r>
              <a:rPr lang="ru-RU" dirty="0" err="1">
                <a:solidFill>
                  <a:schemeClr val="tx2">
                    <a:lumMod val="75000"/>
                  </a:schemeClr>
                </a:solidFill>
              </a:rPr>
              <a:t>саморегуляции</a:t>
            </a: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ru-RU" dirty="0"/>
              <a:t/>
            </a:r>
            <a:br>
              <a:rPr lang="ru-RU" dirty="0"/>
            </a:b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5" name="Рисунок 4" descr="https://avatars.mds.yandex.net/get-zen_doc/49107/pub_5cb7fa42683de900be9f1c04_5cb7fa54362a6f00b3fcf50a/scale_120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840" y="5229200"/>
            <a:ext cx="5904656" cy="1628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1003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едметная готовность или </a:t>
            </a:r>
            <a:r>
              <a:rPr lang="ru-RU" dirty="0" smtClean="0"/>
              <a:t>содержательная 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готовность 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по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определенному 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предмету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,</a:t>
            </a:r>
          </a:p>
          <a:p>
            <a:pPr marL="0" indent="0" algn="ctr">
              <a:buNone/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умение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решать задания КИМ</a:t>
            </a:r>
          </a:p>
          <a:p>
            <a:pPr marL="0" indent="0" algn="ctr">
              <a:buNone/>
            </a:pP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2852936"/>
            <a:ext cx="7416824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69153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96752"/>
          </a:xfrm>
        </p:spPr>
        <p:txBody>
          <a:bodyPr/>
          <a:lstStyle/>
          <a:p>
            <a:r>
              <a:rPr lang="ru-RU" dirty="0" smtClean="0"/>
              <a:t>предметная </a:t>
            </a:r>
            <a:r>
              <a:rPr lang="ru-RU" dirty="0"/>
              <a:t>готовность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51520" y="1268760"/>
            <a:ext cx="8640960" cy="5256584"/>
          </a:xfrm>
        </p:spPr>
        <p:txBody>
          <a:bodyPr>
            <a:normAutofit fontScale="85000" lnSpcReduction="20000"/>
          </a:bodyPr>
          <a:lstStyle/>
          <a:p>
            <a:pPr lvl="0"/>
            <a:r>
              <a:rPr lang="ru-RU" sz="2200" dirty="0">
                <a:solidFill>
                  <a:srgbClr val="9C5252">
                    <a:lumMod val="75000"/>
                  </a:srgbClr>
                </a:solidFill>
              </a:rPr>
              <a:t>Ознакомление с </a:t>
            </a:r>
            <a:r>
              <a:rPr lang="ru-RU" sz="2200" b="1" dirty="0">
                <a:solidFill>
                  <a:srgbClr val="9C5252">
                    <a:lumMod val="75000"/>
                  </a:srgbClr>
                </a:solidFill>
              </a:rPr>
              <a:t>демоверсиями ОГЭ и ЕГЭ 2022 г</a:t>
            </a:r>
            <a:r>
              <a:rPr lang="ru-RU" sz="2200" dirty="0">
                <a:solidFill>
                  <a:srgbClr val="9C5252">
                    <a:lumMod val="75000"/>
                  </a:srgbClr>
                </a:solidFill>
              </a:rPr>
              <a:t>. (</a:t>
            </a:r>
            <a:r>
              <a:rPr lang="ru-RU" sz="2200" i="1" dirty="0">
                <a:solidFill>
                  <a:schemeClr val="accent5">
                    <a:lumMod val="75000"/>
                  </a:schemeClr>
                </a:solidFill>
              </a:rPr>
              <a:t>акцент на повторение / изучение материала, освоение навыков, а не на изменения);</a:t>
            </a:r>
          </a:p>
          <a:p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Проведение учителями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диагностических работ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в формате ОГЭ и ЕГЭ и учет их результатов по ликвидации пробелов в знаниях обучающихся;</a:t>
            </a:r>
          </a:p>
          <a:p>
            <a:pPr lvl="0"/>
            <a:r>
              <a:rPr lang="ru-RU" dirty="0">
                <a:solidFill>
                  <a:srgbClr val="9C5252">
                    <a:lumMod val="75000"/>
                  </a:srgbClr>
                </a:solidFill>
              </a:rPr>
              <a:t>Проведение учителями </a:t>
            </a:r>
            <a:r>
              <a:rPr lang="ru-RU" b="1" dirty="0">
                <a:solidFill>
                  <a:srgbClr val="9C5252">
                    <a:lumMod val="75000"/>
                  </a:srgbClr>
                </a:solidFill>
              </a:rPr>
              <a:t>индивидуальных и групповых консультаций</a:t>
            </a:r>
            <a:r>
              <a:rPr lang="ru-RU" dirty="0">
                <a:solidFill>
                  <a:srgbClr val="9C5252">
                    <a:lumMod val="75000"/>
                  </a:srgbClr>
                </a:solidFill>
              </a:rPr>
              <a:t>;</a:t>
            </a:r>
          </a:p>
          <a:p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Посещение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учениками 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занятий факультативных, элективных курсов, курсов по выбору;</a:t>
            </a:r>
          </a:p>
          <a:p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Организация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и проведения администрацией ОО </a:t>
            </a:r>
            <a:r>
              <a:rPr lang="ru-RU" b="1" dirty="0" err="1" smtClean="0">
                <a:solidFill>
                  <a:schemeClr val="accent2">
                    <a:lumMod val="75000"/>
                  </a:schemeClr>
                </a:solidFill>
              </a:rPr>
              <a:t>внутришкольного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 мониторинга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 образовательной подготовки обучающихся, посещение учебных занятий с целью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контроля за качеством </a:t>
            </a:r>
            <a:r>
              <a:rPr lang="ru-RU" dirty="0" smtClean="0">
                <a:solidFill>
                  <a:schemeClr val="accent2">
                    <a:lumMod val="75000"/>
                  </a:schemeClr>
                </a:solidFill>
              </a:rPr>
              <a:t>обучения и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объективного выставления 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оценок</a:t>
            </a:r>
          </a:p>
          <a:p>
            <a:pPr lvl="0"/>
            <a:r>
              <a:rPr lang="ru-RU" sz="2200" dirty="0">
                <a:solidFill>
                  <a:srgbClr val="9C5252">
                    <a:lumMod val="75000"/>
                  </a:srgbClr>
                </a:solidFill>
              </a:rPr>
              <a:t>Организация обучения в условиях </a:t>
            </a:r>
            <a:r>
              <a:rPr lang="ru-RU" sz="2200" b="1" dirty="0">
                <a:solidFill>
                  <a:srgbClr val="9C5252">
                    <a:lumMod val="75000"/>
                  </a:srgbClr>
                </a:solidFill>
              </a:rPr>
              <a:t>ЦОС;</a:t>
            </a:r>
          </a:p>
          <a:p>
            <a:pPr lvl="0"/>
            <a:r>
              <a:rPr lang="ru-RU" sz="2200" dirty="0">
                <a:solidFill>
                  <a:srgbClr val="9C5252">
                    <a:lumMod val="75000"/>
                  </a:srgbClr>
                </a:solidFill>
              </a:rPr>
              <a:t>Ознакомление </a:t>
            </a:r>
            <a:r>
              <a:rPr lang="ru-RU" sz="2200" b="1" dirty="0">
                <a:solidFill>
                  <a:srgbClr val="9C5252">
                    <a:lumMod val="75000"/>
                  </a:srgbClr>
                </a:solidFill>
              </a:rPr>
              <a:t>с </a:t>
            </a:r>
            <a:r>
              <a:rPr lang="ru-RU" sz="2200" b="1" dirty="0" err="1">
                <a:solidFill>
                  <a:srgbClr val="9C5252">
                    <a:lumMod val="75000"/>
                  </a:srgbClr>
                </a:solidFill>
              </a:rPr>
              <a:t>видеоконсультациями</a:t>
            </a:r>
            <a:r>
              <a:rPr lang="ru-RU" sz="2200" b="1" dirty="0">
                <a:solidFill>
                  <a:srgbClr val="9C5252">
                    <a:lumMod val="75000"/>
                  </a:srgbClr>
                </a:solidFill>
              </a:rPr>
              <a:t> </a:t>
            </a:r>
            <a:r>
              <a:rPr lang="ru-RU" sz="2200" dirty="0" err="1">
                <a:solidFill>
                  <a:srgbClr val="9C5252">
                    <a:lumMod val="75000"/>
                  </a:srgbClr>
                </a:solidFill>
              </a:rPr>
              <a:t>Рособрнадзора</a:t>
            </a:r>
            <a:r>
              <a:rPr lang="ru-RU" sz="2200" dirty="0">
                <a:solidFill>
                  <a:srgbClr val="9C5252">
                    <a:lumMod val="75000"/>
                  </a:srgbClr>
                </a:solidFill>
              </a:rPr>
              <a:t>;</a:t>
            </a:r>
          </a:p>
          <a:p>
            <a:pPr lvl="0"/>
            <a:r>
              <a:rPr lang="ru-RU" sz="2200" dirty="0">
                <a:solidFill>
                  <a:srgbClr val="9C5252">
                    <a:lumMod val="75000"/>
                  </a:srgbClr>
                </a:solidFill>
              </a:rPr>
              <a:t>Ознакомление</a:t>
            </a:r>
            <a:r>
              <a:rPr lang="ru-RU" sz="2200" b="1" dirty="0">
                <a:solidFill>
                  <a:srgbClr val="9C5252">
                    <a:lumMod val="75000"/>
                  </a:srgbClr>
                </a:solidFill>
              </a:rPr>
              <a:t> с ресурсом «Навигатор подготовки к ОГЭ, ЕГЭ» (fipi.ru/</a:t>
            </a:r>
            <a:r>
              <a:rPr lang="ru-RU" sz="2200" b="1" dirty="0" err="1">
                <a:solidFill>
                  <a:srgbClr val="9C5252">
                    <a:lumMod val="75000"/>
                  </a:srgbClr>
                </a:solidFill>
              </a:rPr>
              <a:t>navigator-podgotovki</a:t>
            </a:r>
            <a:r>
              <a:rPr lang="ru-RU" sz="2200" b="1" dirty="0">
                <a:solidFill>
                  <a:srgbClr val="9C5252">
                    <a:lumMod val="75000"/>
                  </a:srgbClr>
                </a:solidFill>
              </a:rPr>
              <a:t>)</a:t>
            </a:r>
          </a:p>
          <a:p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4639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645120"/>
            <a:ext cx="9396536" cy="8473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281785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76672"/>
            <a:ext cx="9252520" cy="64533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13669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036496" cy="68634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426165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6_Reporting Progress or Status">
  <a:themeElements>
    <a:clrScheme name="Reporting Progress or Status 1">
      <a:dk1>
        <a:srgbClr val="333300"/>
      </a:dk1>
      <a:lt1>
        <a:srgbClr val="FFFFFF"/>
      </a:lt1>
      <a:dk2>
        <a:srgbClr val="000000"/>
      </a:dk2>
      <a:lt2>
        <a:srgbClr val="969696"/>
      </a:lt2>
      <a:accent1>
        <a:srgbClr val="E5D58A"/>
      </a:accent1>
      <a:accent2>
        <a:srgbClr val="CCCC00"/>
      </a:accent2>
      <a:accent3>
        <a:srgbClr val="FFFFFF"/>
      </a:accent3>
      <a:accent4>
        <a:srgbClr val="2A2A00"/>
      </a:accent4>
      <a:accent5>
        <a:srgbClr val="F0E7C4"/>
      </a:accent5>
      <a:accent6>
        <a:srgbClr val="B9B900"/>
      </a:accent6>
      <a:hlink>
        <a:srgbClr val="999933"/>
      </a:hlink>
      <a:folHlink>
        <a:srgbClr val="666633"/>
      </a:folHlink>
    </a:clrScheme>
    <a:fontScheme name="Reporting Progress or Status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Reporting Progress or Status 1">
        <a:dk1>
          <a:srgbClr val="333300"/>
        </a:dk1>
        <a:lt1>
          <a:srgbClr val="FFFFFF"/>
        </a:lt1>
        <a:dk2>
          <a:srgbClr val="000000"/>
        </a:dk2>
        <a:lt2>
          <a:srgbClr val="969696"/>
        </a:lt2>
        <a:accent1>
          <a:srgbClr val="E5D58A"/>
        </a:accent1>
        <a:accent2>
          <a:srgbClr val="CCCC00"/>
        </a:accent2>
        <a:accent3>
          <a:srgbClr val="FFFFFF"/>
        </a:accent3>
        <a:accent4>
          <a:srgbClr val="2A2A00"/>
        </a:accent4>
        <a:accent5>
          <a:srgbClr val="F0E7C4"/>
        </a:accent5>
        <a:accent6>
          <a:srgbClr val="B9B900"/>
        </a:accent6>
        <a:hlink>
          <a:srgbClr val="9999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eporting Progress or Status 2">
        <a:dk1>
          <a:srgbClr val="000000"/>
        </a:dk1>
        <a:lt1>
          <a:srgbClr val="8EA1C0"/>
        </a:lt1>
        <a:dk2>
          <a:srgbClr val="FFFFFF"/>
        </a:dk2>
        <a:lt2>
          <a:srgbClr val="5F5F5F"/>
        </a:lt2>
        <a:accent1>
          <a:srgbClr val="B6CDDE"/>
        </a:accent1>
        <a:accent2>
          <a:srgbClr val="8A7CA2"/>
        </a:accent2>
        <a:accent3>
          <a:srgbClr val="C6CDDC"/>
        </a:accent3>
        <a:accent4>
          <a:srgbClr val="000000"/>
        </a:accent4>
        <a:accent5>
          <a:srgbClr val="D7E3EC"/>
        </a:accent5>
        <a:accent6>
          <a:srgbClr val="7D7092"/>
        </a:accent6>
        <a:hlink>
          <a:srgbClr val="3366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eporting Progress or Status 3">
        <a:dk1>
          <a:srgbClr val="333300"/>
        </a:dk1>
        <a:lt1>
          <a:srgbClr val="FFFFFF"/>
        </a:lt1>
        <a:dk2>
          <a:srgbClr val="000000"/>
        </a:dk2>
        <a:lt2>
          <a:srgbClr val="969696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2A2A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Reporting Progress or Status">
  <a:themeElements>
    <a:clrScheme name="Reporting Progress or Status 1">
      <a:dk1>
        <a:srgbClr val="333300"/>
      </a:dk1>
      <a:lt1>
        <a:srgbClr val="FFFFFF"/>
      </a:lt1>
      <a:dk2>
        <a:srgbClr val="000000"/>
      </a:dk2>
      <a:lt2>
        <a:srgbClr val="969696"/>
      </a:lt2>
      <a:accent1>
        <a:srgbClr val="E5D58A"/>
      </a:accent1>
      <a:accent2>
        <a:srgbClr val="CCCC00"/>
      </a:accent2>
      <a:accent3>
        <a:srgbClr val="FFFFFF"/>
      </a:accent3>
      <a:accent4>
        <a:srgbClr val="2A2A00"/>
      </a:accent4>
      <a:accent5>
        <a:srgbClr val="F0E7C4"/>
      </a:accent5>
      <a:accent6>
        <a:srgbClr val="B9B900"/>
      </a:accent6>
      <a:hlink>
        <a:srgbClr val="999933"/>
      </a:hlink>
      <a:folHlink>
        <a:srgbClr val="666633"/>
      </a:folHlink>
    </a:clrScheme>
    <a:fontScheme name="Reporting Progress or Status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Reporting Progress or Status 1">
        <a:dk1>
          <a:srgbClr val="333300"/>
        </a:dk1>
        <a:lt1>
          <a:srgbClr val="FFFFFF"/>
        </a:lt1>
        <a:dk2>
          <a:srgbClr val="000000"/>
        </a:dk2>
        <a:lt2>
          <a:srgbClr val="969696"/>
        </a:lt2>
        <a:accent1>
          <a:srgbClr val="E5D58A"/>
        </a:accent1>
        <a:accent2>
          <a:srgbClr val="CCCC00"/>
        </a:accent2>
        <a:accent3>
          <a:srgbClr val="FFFFFF"/>
        </a:accent3>
        <a:accent4>
          <a:srgbClr val="2A2A00"/>
        </a:accent4>
        <a:accent5>
          <a:srgbClr val="F0E7C4"/>
        </a:accent5>
        <a:accent6>
          <a:srgbClr val="B9B900"/>
        </a:accent6>
        <a:hlink>
          <a:srgbClr val="9999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eporting Progress or Status 2">
        <a:dk1>
          <a:srgbClr val="000000"/>
        </a:dk1>
        <a:lt1>
          <a:srgbClr val="8EA1C0"/>
        </a:lt1>
        <a:dk2>
          <a:srgbClr val="FFFFFF"/>
        </a:dk2>
        <a:lt2>
          <a:srgbClr val="5F5F5F"/>
        </a:lt2>
        <a:accent1>
          <a:srgbClr val="B6CDDE"/>
        </a:accent1>
        <a:accent2>
          <a:srgbClr val="8A7CA2"/>
        </a:accent2>
        <a:accent3>
          <a:srgbClr val="C6CDDC"/>
        </a:accent3>
        <a:accent4>
          <a:srgbClr val="000000"/>
        </a:accent4>
        <a:accent5>
          <a:srgbClr val="D7E3EC"/>
        </a:accent5>
        <a:accent6>
          <a:srgbClr val="7D7092"/>
        </a:accent6>
        <a:hlink>
          <a:srgbClr val="3366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eporting Progress or Status 3">
        <a:dk1>
          <a:srgbClr val="333300"/>
        </a:dk1>
        <a:lt1>
          <a:srgbClr val="FFFFFF"/>
        </a:lt1>
        <a:dk2>
          <a:srgbClr val="000000"/>
        </a:dk2>
        <a:lt2>
          <a:srgbClr val="969696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2A2A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_Reporting Progress or Status">
  <a:themeElements>
    <a:clrScheme name="Reporting Progress or Status 1">
      <a:dk1>
        <a:srgbClr val="333300"/>
      </a:dk1>
      <a:lt1>
        <a:srgbClr val="FFFFFF"/>
      </a:lt1>
      <a:dk2>
        <a:srgbClr val="000000"/>
      </a:dk2>
      <a:lt2>
        <a:srgbClr val="969696"/>
      </a:lt2>
      <a:accent1>
        <a:srgbClr val="E5D58A"/>
      </a:accent1>
      <a:accent2>
        <a:srgbClr val="CCCC00"/>
      </a:accent2>
      <a:accent3>
        <a:srgbClr val="FFFFFF"/>
      </a:accent3>
      <a:accent4>
        <a:srgbClr val="2A2A00"/>
      </a:accent4>
      <a:accent5>
        <a:srgbClr val="F0E7C4"/>
      </a:accent5>
      <a:accent6>
        <a:srgbClr val="B9B900"/>
      </a:accent6>
      <a:hlink>
        <a:srgbClr val="999933"/>
      </a:hlink>
      <a:folHlink>
        <a:srgbClr val="666633"/>
      </a:folHlink>
    </a:clrScheme>
    <a:fontScheme name="Reporting Progress or Status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Reporting Progress or Status 1">
        <a:dk1>
          <a:srgbClr val="333300"/>
        </a:dk1>
        <a:lt1>
          <a:srgbClr val="FFFFFF"/>
        </a:lt1>
        <a:dk2>
          <a:srgbClr val="000000"/>
        </a:dk2>
        <a:lt2>
          <a:srgbClr val="969696"/>
        </a:lt2>
        <a:accent1>
          <a:srgbClr val="E5D58A"/>
        </a:accent1>
        <a:accent2>
          <a:srgbClr val="CCCC00"/>
        </a:accent2>
        <a:accent3>
          <a:srgbClr val="FFFFFF"/>
        </a:accent3>
        <a:accent4>
          <a:srgbClr val="2A2A00"/>
        </a:accent4>
        <a:accent5>
          <a:srgbClr val="F0E7C4"/>
        </a:accent5>
        <a:accent6>
          <a:srgbClr val="B9B900"/>
        </a:accent6>
        <a:hlink>
          <a:srgbClr val="999933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eporting Progress or Status 2">
        <a:dk1>
          <a:srgbClr val="000000"/>
        </a:dk1>
        <a:lt1>
          <a:srgbClr val="8EA1C0"/>
        </a:lt1>
        <a:dk2>
          <a:srgbClr val="FFFFFF"/>
        </a:dk2>
        <a:lt2>
          <a:srgbClr val="5F5F5F"/>
        </a:lt2>
        <a:accent1>
          <a:srgbClr val="B6CDDE"/>
        </a:accent1>
        <a:accent2>
          <a:srgbClr val="8A7CA2"/>
        </a:accent2>
        <a:accent3>
          <a:srgbClr val="C6CDDC"/>
        </a:accent3>
        <a:accent4>
          <a:srgbClr val="000000"/>
        </a:accent4>
        <a:accent5>
          <a:srgbClr val="D7E3EC"/>
        </a:accent5>
        <a:accent6>
          <a:srgbClr val="7D7092"/>
        </a:accent6>
        <a:hlink>
          <a:srgbClr val="336699"/>
        </a:hlink>
        <a:folHlink>
          <a:srgbClr val="0099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eporting Progress or Status 3">
        <a:dk1>
          <a:srgbClr val="333300"/>
        </a:dk1>
        <a:lt1>
          <a:srgbClr val="FFFFFF"/>
        </a:lt1>
        <a:dk2>
          <a:srgbClr val="000000"/>
        </a:dk2>
        <a:lt2>
          <a:srgbClr val="969696"/>
        </a:lt2>
        <a:accent1>
          <a:srgbClr val="EAEAEA"/>
        </a:accent1>
        <a:accent2>
          <a:srgbClr val="969696"/>
        </a:accent2>
        <a:accent3>
          <a:srgbClr val="FFFFFF"/>
        </a:accent3>
        <a:accent4>
          <a:srgbClr val="2A2A00"/>
        </a:accent4>
        <a:accent5>
          <a:srgbClr val="F3F3F3"/>
        </a:accent5>
        <a:accent6>
          <a:srgbClr val="878787"/>
        </a:accent6>
        <a:hlink>
          <a:srgbClr val="5F5F5F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Исполнительная">
  <a:themeElements>
    <a:clrScheme name="Исполнительная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Исполнительная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Исполните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2401</TotalTime>
  <Words>1778</Words>
  <Application>Microsoft Office PowerPoint</Application>
  <PresentationFormat>Экран (4:3)</PresentationFormat>
  <Paragraphs>223</Paragraphs>
  <Slides>31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51" baseType="lpstr">
      <vt:lpstr>Arial</vt:lpstr>
      <vt:lpstr>Arial Black</vt:lpstr>
      <vt:lpstr>Calibri</vt:lpstr>
      <vt:lpstr>Calibri Light</vt:lpstr>
      <vt:lpstr>Century Gothic</vt:lpstr>
      <vt:lpstr>Courier New</vt:lpstr>
      <vt:lpstr>Palatino Linotype</vt:lpstr>
      <vt:lpstr>Symbol</vt:lpstr>
      <vt:lpstr>Tahoma</vt:lpstr>
      <vt:lpstr>Times New Roman</vt:lpstr>
      <vt:lpstr>Wingdings</vt:lpstr>
      <vt:lpstr>6_Reporting Progress or Status</vt:lpstr>
      <vt:lpstr>5_Reporting Progress or Status</vt:lpstr>
      <vt:lpstr>9_Reporting Progress or Status</vt:lpstr>
      <vt:lpstr>Исполнительная</vt:lpstr>
      <vt:lpstr>1_Тема Office</vt:lpstr>
      <vt:lpstr>2_Тема Office</vt:lpstr>
      <vt:lpstr>3_Тема Office</vt:lpstr>
      <vt:lpstr>4_Тема Office</vt:lpstr>
      <vt:lpstr>think-cell Slide</vt:lpstr>
      <vt:lpstr>         РЕКОМЕНДАЦИИ по подготовке обучающихся  к ГИА по математике  в 2021-2022 уч.г. </vt:lpstr>
      <vt:lpstr>Презентация PowerPoint</vt:lpstr>
      <vt:lpstr>ИНФОРМАЦИОННАЯ ГОТОВНОСТЬ (педагогов, учащихся и родителей)</vt:lpstr>
      <vt:lpstr>психологическая готовность</vt:lpstr>
      <vt:lpstr>предметная готовность или содержательная </vt:lpstr>
      <vt:lpstr>предметная готовность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ОНИТОРИНГ КАЧЕСТВА ОБРАЗОВАТЕЛЬНОЙ ПОДГОТОВКИ ОБУЧАЮЩИХСЯ  9 И 11 КЛАССОВ ПО МАТЕМАТИКЕ в 2021 году </vt:lpstr>
      <vt:lpstr>Результаты по математике, 9 класс  </vt:lpstr>
      <vt:lpstr>Результаты мониторинга и  ОГЭ 2021 г. показали:</vt:lpstr>
      <vt:lpstr>Рекомендации по подготовке к ОГЭ, 9 класс</vt:lpstr>
      <vt:lpstr>Результаты по математике  (профильный уровень), 11 класс</vt:lpstr>
      <vt:lpstr>Пять групп участников с разными уровнями  математической подготовки ЕГЭ по математике В 2022 г. заканчивают 11 класс обучающиеся, не сдававшие ОГЭ!!!!</vt:lpstr>
      <vt:lpstr>Этапы индивидуальной подготовки</vt:lpstr>
      <vt:lpstr>Этапы индивидуальной подготовки</vt:lpstr>
      <vt:lpstr> </vt:lpstr>
      <vt:lpstr>  Этапы индивидуальной подготовки </vt:lpstr>
      <vt:lpstr>ПРОБЛЕМЫ </vt:lpstr>
      <vt:lpstr>ОБЩИЕ РЕКОМЕНДАЦИИ</vt:lpstr>
      <vt:lpstr>Презентация PowerPoint</vt:lpstr>
      <vt:lpstr>Математическая грамотность. Полезные материалы</vt:lpstr>
      <vt:lpstr>Работа с ситуацией (контекстом)</vt:lpstr>
      <vt:lpstr>  СООБЩЕСТВО УЧИТЕЛЕЙ МАТЕМАТИКИ                                         http://wiki.vladimir.i-edu.ru    </vt:lpstr>
      <vt:lpstr>Презентация PowerPoint</vt:lpstr>
      <vt:lpstr>Планируемые мероприятия ВИРО  </vt:lpstr>
      <vt:lpstr> Конкурс для  педагогов  «Решение задач повышенной сложности» (1 ноября 2021 г.) </vt:lpstr>
      <vt:lpstr>Кафедра естественно-математического образования ГАОУДПО ВО ВИРО  Наши контакты: 8(4922)-328385               kafedraemo@yandex.r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тонова Елена Ивановна</dc:creator>
  <cp:lastModifiedBy>Елена</cp:lastModifiedBy>
  <cp:revision>342</cp:revision>
  <cp:lastPrinted>2021-11-08T14:18:55Z</cp:lastPrinted>
  <dcterms:created xsi:type="dcterms:W3CDTF">2017-06-19T13:01:14Z</dcterms:created>
  <dcterms:modified xsi:type="dcterms:W3CDTF">2021-11-09T03:15:23Z</dcterms:modified>
</cp:coreProperties>
</file>